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47"/>
  </p:notesMasterIdLst>
  <p:sldIdLst>
    <p:sldId id="1502" r:id="rId5"/>
    <p:sldId id="1503" r:id="rId6"/>
    <p:sldId id="1461" r:id="rId7"/>
    <p:sldId id="1492" r:id="rId8"/>
    <p:sldId id="3265" r:id="rId9"/>
    <p:sldId id="3266" r:id="rId10"/>
    <p:sldId id="3267" r:id="rId11"/>
    <p:sldId id="1554" r:id="rId12"/>
    <p:sldId id="3264" r:id="rId13"/>
    <p:sldId id="3273" r:id="rId14"/>
    <p:sldId id="3279" r:id="rId15"/>
    <p:sldId id="3284" r:id="rId16"/>
    <p:sldId id="1558" r:id="rId17"/>
    <p:sldId id="1561" r:id="rId18"/>
    <p:sldId id="1563" r:id="rId19"/>
    <p:sldId id="3276" r:id="rId20"/>
    <p:sldId id="1512" r:id="rId21"/>
    <p:sldId id="1523" r:id="rId22"/>
    <p:sldId id="1547" r:id="rId23"/>
    <p:sldId id="1549" r:id="rId24"/>
    <p:sldId id="1550" r:id="rId25"/>
    <p:sldId id="1551" r:id="rId26"/>
    <p:sldId id="1552" r:id="rId27"/>
    <p:sldId id="1464" r:id="rId28"/>
    <p:sldId id="1527" r:id="rId29"/>
    <p:sldId id="1535" r:id="rId30"/>
    <p:sldId id="1553" r:id="rId31"/>
    <p:sldId id="1513" r:id="rId32"/>
    <p:sldId id="1529" r:id="rId33"/>
    <p:sldId id="1528" r:id="rId34"/>
    <p:sldId id="1514" r:id="rId35"/>
    <p:sldId id="1515" r:id="rId36"/>
    <p:sldId id="1516" r:id="rId37"/>
    <p:sldId id="3285" r:id="rId38"/>
    <p:sldId id="1499" r:id="rId39"/>
    <p:sldId id="1530" r:id="rId40"/>
    <p:sldId id="1531" r:id="rId41"/>
    <p:sldId id="1532" r:id="rId42"/>
    <p:sldId id="1533" r:id="rId43"/>
    <p:sldId id="1534" r:id="rId44"/>
    <p:sldId id="1465" r:id="rId45"/>
    <p:sldId id="1425" r:id="rId46"/>
  </p:sldIdLst>
  <p:sldSz cx="9144000" cy="5143500" type="screen16x9"/>
  <p:notesSz cx="6858000" cy="9144000"/>
  <p:custDataLst>
    <p:tags r:id="rId48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81EADA-B33A-31CA-FE0C-129C4F82D78C}" name="Maillard, Alexiane" initials="MA" userId="Maillard, Alexian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2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03414B5-9872-498A-96AA-A15B45DAD6F2}" v="1" dt="2023-10-27T06:43:19.7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1"/>
    <p:restoredTop sz="94672"/>
  </p:normalViewPr>
  <p:slideViewPr>
    <p:cSldViewPr snapToGrid="0">
      <p:cViewPr varScale="1">
        <p:scale>
          <a:sx n="124" d="100"/>
          <a:sy n="124" d="100"/>
        </p:scale>
        <p:origin x="105" y="54"/>
      </p:cViewPr>
      <p:guideLst>
        <p:guide orient="horz" pos="164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55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minik Buchegger" userId="7f2052fac20aabcc" providerId="LiveId" clId="{60A6B131-A1EC-4E69-9D51-77A7C4B3FD15}"/>
    <pc:docChg chg="undo redo custSel addSld delSld modSld sldOrd">
      <pc:chgData name="Dominik Buchegger" userId="7f2052fac20aabcc" providerId="LiveId" clId="{60A6B131-A1EC-4E69-9D51-77A7C4B3FD15}" dt="2023-10-13T11:46:22.751" v="2128"/>
      <pc:docMkLst>
        <pc:docMk/>
      </pc:docMkLst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3167924282" sldId="263"/>
        </pc:sldMkLst>
      </pc:sldChg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1256946820" sldId="265"/>
        </pc:sldMkLst>
      </pc:sldChg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4097384921" sldId="269"/>
        </pc:sldMkLst>
      </pc:sldChg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2154430935" sldId="270"/>
        </pc:sldMkLst>
      </pc:sldChg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403942813" sldId="271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23873344" sldId="301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2660062927" sldId="302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420543241" sldId="303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1348316045" sldId="304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1445588967" sldId="306"/>
        </pc:sldMkLst>
      </pc:sldChg>
      <pc:sldChg chg="modSp mod">
        <pc:chgData name="Dominik Buchegger" userId="7f2052fac20aabcc" providerId="LiveId" clId="{60A6B131-A1EC-4E69-9D51-77A7C4B3FD15}" dt="2023-10-13T11:30:02.821" v="1967" actId="20577"/>
        <pc:sldMkLst>
          <pc:docMk/>
          <pc:sldMk cId="3950133140" sldId="1425"/>
        </pc:sldMkLst>
        <pc:spChg chg="mod">
          <ac:chgData name="Dominik Buchegger" userId="7f2052fac20aabcc" providerId="LiveId" clId="{60A6B131-A1EC-4E69-9D51-77A7C4B3FD15}" dt="2023-10-13T11:30:02.821" v="1967" actId="20577"/>
          <ac:spMkLst>
            <pc:docMk/>
            <pc:sldMk cId="3950133140" sldId="1425"/>
            <ac:spMk id="16" creationId="{909CA527-9C4E-4704-9579-AA53445EF11F}"/>
          </ac:spMkLst>
        </pc:spChg>
      </pc:sldChg>
      <pc:sldChg chg="modSp mod">
        <pc:chgData name="Dominik Buchegger" userId="7f2052fac20aabcc" providerId="LiveId" clId="{60A6B131-A1EC-4E69-9D51-77A7C4B3FD15}" dt="2023-10-13T10:58:48.643" v="9" actId="20577"/>
        <pc:sldMkLst>
          <pc:docMk/>
          <pc:sldMk cId="860905568" sldId="1461"/>
        </pc:sldMkLst>
        <pc:spChg chg="mod">
          <ac:chgData name="Dominik Buchegger" userId="7f2052fac20aabcc" providerId="LiveId" clId="{60A6B131-A1EC-4E69-9D51-77A7C4B3FD15}" dt="2023-10-13T10:58:48.643" v="9" actId="20577"/>
          <ac:spMkLst>
            <pc:docMk/>
            <pc:sldMk cId="860905568" sldId="1461"/>
            <ac:spMk id="2" creationId="{C36256A2-67B2-CA01-7417-6A9C17C6B307}"/>
          </ac:spMkLst>
        </pc:spChg>
      </pc:sldChg>
      <pc:sldChg chg="modSp mod">
        <pc:chgData name="Dominik Buchegger" userId="7f2052fac20aabcc" providerId="LiveId" clId="{60A6B131-A1EC-4E69-9D51-77A7C4B3FD15}" dt="2023-10-13T11:29:19.374" v="1950" actId="20577"/>
        <pc:sldMkLst>
          <pc:docMk/>
          <pc:sldMk cId="1700766504" sldId="1464"/>
        </pc:sldMkLst>
        <pc:spChg chg="mod">
          <ac:chgData name="Dominik Buchegger" userId="7f2052fac20aabcc" providerId="LiveId" clId="{60A6B131-A1EC-4E69-9D51-77A7C4B3FD15}" dt="2023-10-13T11:29:19.374" v="1950" actId="20577"/>
          <ac:spMkLst>
            <pc:docMk/>
            <pc:sldMk cId="1700766504" sldId="1464"/>
            <ac:spMk id="2" creationId="{C36256A2-67B2-CA01-7417-6A9C17C6B307}"/>
          </ac:spMkLst>
        </pc:spChg>
      </pc:sldChg>
      <pc:sldChg chg="modSp mod">
        <pc:chgData name="Dominik Buchegger" userId="7f2052fac20aabcc" providerId="LiveId" clId="{60A6B131-A1EC-4E69-9D51-77A7C4B3FD15}" dt="2023-10-13T11:30:02.318" v="1965" actId="20577"/>
        <pc:sldMkLst>
          <pc:docMk/>
          <pc:sldMk cId="3108777804" sldId="1465"/>
        </pc:sldMkLst>
        <pc:spChg chg="mod">
          <ac:chgData name="Dominik Buchegger" userId="7f2052fac20aabcc" providerId="LiveId" clId="{60A6B131-A1EC-4E69-9D51-77A7C4B3FD15}" dt="2023-10-13T11:30:02.318" v="1965" actId="20577"/>
          <ac:spMkLst>
            <pc:docMk/>
            <pc:sldMk cId="3108777804" sldId="1465"/>
            <ac:spMk id="2" creationId="{C36256A2-67B2-CA01-7417-6A9C17C6B307}"/>
          </ac:spMkLst>
        </pc:spChg>
      </pc:sldChg>
      <pc:sldChg chg="modSp add mod ord">
        <pc:chgData name="Dominik Buchegger" userId="7f2052fac20aabcc" providerId="LiveId" clId="{60A6B131-A1EC-4E69-9D51-77A7C4B3FD15}" dt="2023-10-13T11:32:16.643" v="1976" actId="20577"/>
        <pc:sldMkLst>
          <pc:docMk/>
          <pc:sldMk cId="2447692118" sldId="1480"/>
        </pc:sldMkLst>
        <pc:spChg chg="mod">
          <ac:chgData name="Dominik Buchegger" userId="7f2052fac20aabcc" providerId="LiveId" clId="{60A6B131-A1EC-4E69-9D51-77A7C4B3FD15}" dt="2023-10-13T11:32:16.643" v="1976" actId="20577"/>
          <ac:spMkLst>
            <pc:docMk/>
            <pc:sldMk cId="2447692118" sldId="1480"/>
            <ac:spMk id="2" creationId="{76EA407A-0B5B-9B6F-C9D4-877962AE18C5}"/>
          </ac:spMkLst>
        </pc:spChg>
      </pc:sldChg>
      <pc:sldChg chg="delSp modSp mod">
        <pc:chgData name="Dominik Buchegger" userId="7f2052fac20aabcc" providerId="LiveId" clId="{60A6B131-A1EC-4E69-9D51-77A7C4B3FD15}" dt="2023-10-13T10:59:05.140" v="18" actId="20577"/>
        <pc:sldMkLst>
          <pc:docMk/>
          <pc:sldMk cId="1352991866" sldId="1492"/>
        </pc:sldMkLst>
        <pc:spChg chg="mod">
          <ac:chgData name="Dominik Buchegger" userId="7f2052fac20aabcc" providerId="LiveId" clId="{60A6B131-A1EC-4E69-9D51-77A7C4B3FD15}" dt="2023-10-13T10:58:58.661" v="14" actId="20577"/>
          <ac:spMkLst>
            <pc:docMk/>
            <pc:sldMk cId="1352991866" sldId="1492"/>
            <ac:spMk id="3" creationId="{811F6EC9-ECF3-006B-D232-CFD08585C842}"/>
          </ac:spMkLst>
        </pc:spChg>
        <pc:spChg chg="mod">
          <ac:chgData name="Dominik Buchegger" userId="7f2052fac20aabcc" providerId="LiveId" clId="{60A6B131-A1EC-4E69-9D51-77A7C4B3FD15}" dt="2023-10-13T10:59:03.741" v="17" actId="20577"/>
          <ac:spMkLst>
            <pc:docMk/>
            <pc:sldMk cId="1352991866" sldId="1492"/>
            <ac:spMk id="8" creationId="{E0EB712D-88FF-652F-AD07-EBE500FC8B72}"/>
          </ac:spMkLst>
        </pc:spChg>
        <pc:spChg chg="mod">
          <ac:chgData name="Dominik Buchegger" userId="7f2052fac20aabcc" providerId="LiveId" clId="{60A6B131-A1EC-4E69-9D51-77A7C4B3FD15}" dt="2023-10-13T10:59:05.140" v="18" actId="20577"/>
          <ac:spMkLst>
            <pc:docMk/>
            <pc:sldMk cId="1352991866" sldId="1492"/>
            <ac:spMk id="9" creationId="{59B53215-B6F1-5EC0-B1AC-A12EE89612BE}"/>
          </ac:spMkLst>
        </pc:spChg>
        <pc:picChg chg="del">
          <ac:chgData name="Dominik Buchegger" userId="7f2052fac20aabcc" providerId="LiveId" clId="{60A6B131-A1EC-4E69-9D51-77A7C4B3FD15}" dt="2023-10-13T10:59:02.133" v="16" actId="478"/>
          <ac:picMkLst>
            <pc:docMk/>
            <pc:sldMk cId="1352991866" sldId="1492"/>
            <ac:picMk id="6" creationId="{E33B3B98-72F9-67E7-5250-036A489AF5DF}"/>
          </ac:picMkLst>
        </pc:picChg>
        <pc:picChg chg="del">
          <ac:chgData name="Dominik Buchegger" userId="7f2052fac20aabcc" providerId="LiveId" clId="{60A6B131-A1EC-4E69-9D51-77A7C4B3FD15}" dt="2023-10-13T10:59:00.758" v="15" actId="478"/>
          <ac:picMkLst>
            <pc:docMk/>
            <pc:sldMk cId="1352991866" sldId="1492"/>
            <ac:picMk id="7" creationId="{9C3A97D6-E3FB-4BE3-9E36-CFAA3B0AA1E4}"/>
          </ac:picMkLst>
        </pc:picChg>
      </pc:sldChg>
      <pc:sldChg chg="modSp add del mod">
        <pc:chgData name="Dominik Buchegger" userId="7f2052fac20aabcc" providerId="LiveId" clId="{60A6B131-A1EC-4E69-9D51-77A7C4B3FD15}" dt="2023-10-13T11:29:40.852" v="1956" actId="47"/>
        <pc:sldMkLst>
          <pc:docMk/>
          <pc:sldMk cId="2299432622" sldId="1499"/>
        </pc:sldMkLst>
        <pc:spChg chg="mod">
          <ac:chgData name="Dominik Buchegger" userId="7f2052fac20aabcc" providerId="LiveId" clId="{60A6B131-A1EC-4E69-9D51-77A7C4B3FD15}" dt="2023-10-13T11:29:30.119" v="1954" actId="6549"/>
          <ac:spMkLst>
            <pc:docMk/>
            <pc:sldMk cId="2299432622" sldId="1499"/>
            <ac:spMk id="2" creationId="{76EA407A-0B5B-9B6F-C9D4-877962AE18C5}"/>
          </ac:spMkLst>
        </pc:spChg>
      </pc:sldChg>
      <pc:sldChg chg="add del">
        <pc:chgData name="Dominik Buchegger" userId="7f2052fac20aabcc" providerId="LiveId" clId="{60A6B131-A1EC-4E69-9D51-77A7C4B3FD15}" dt="2023-10-13T11:29:45.041" v="1957" actId="47"/>
        <pc:sldMkLst>
          <pc:docMk/>
          <pc:sldMk cId="49519036" sldId="1500"/>
        </pc:sldMkLst>
      </pc:sldChg>
      <pc:sldChg chg="modSp mod">
        <pc:chgData name="Dominik Buchegger" userId="7f2052fac20aabcc" providerId="LiveId" clId="{60A6B131-A1EC-4E69-9D51-77A7C4B3FD15}" dt="2023-10-13T10:58:37.562" v="1" actId="20577"/>
        <pc:sldMkLst>
          <pc:docMk/>
          <pc:sldMk cId="2591279201" sldId="1502"/>
        </pc:sldMkLst>
        <pc:spChg chg="mod">
          <ac:chgData name="Dominik Buchegger" userId="7f2052fac20aabcc" providerId="LiveId" clId="{60A6B131-A1EC-4E69-9D51-77A7C4B3FD15}" dt="2023-10-13T10:58:37.562" v="1" actId="20577"/>
          <ac:spMkLst>
            <pc:docMk/>
            <pc:sldMk cId="2591279201" sldId="1502"/>
            <ac:spMk id="13" creationId="{0C11E479-9B3A-42D2-A07C-80F9E924336D}"/>
          </ac:spMkLst>
        </pc:spChg>
      </pc:sldChg>
      <pc:sldChg chg="modSp mod">
        <pc:chgData name="Dominik Buchegger" userId="7f2052fac20aabcc" providerId="LiveId" clId="{60A6B131-A1EC-4E69-9D51-77A7C4B3FD15}" dt="2023-10-13T10:58:45.507" v="7" actId="20577"/>
        <pc:sldMkLst>
          <pc:docMk/>
          <pc:sldMk cId="2517475338" sldId="1503"/>
        </pc:sldMkLst>
        <pc:spChg chg="mod">
          <ac:chgData name="Dominik Buchegger" userId="7f2052fac20aabcc" providerId="LiveId" clId="{60A6B131-A1EC-4E69-9D51-77A7C4B3FD15}" dt="2023-10-13T10:58:45.507" v="7" actId="20577"/>
          <ac:spMkLst>
            <pc:docMk/>
            <pc:sldMk cId="2517475338" sldId="1503"/>
            <ac:spMk id="2" creationId="{38C104DD-55A5-D5D7-68B1-A81097757DA7}"/>
          </ac:spMkLst>
        </pc:spChg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2592209610" sldId="1505"/>
        </pc:sldMkLst>
      </pc:sldChg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1535606471" sldId="1507"/>
        </pc:sldMkLst>
      </pc:sldChg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1919319757" sldId="1508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2670845482" sldId="1510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1607863441" sldId="1511"/>
        </pc:sldMkLst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1140837249" sldId="1513"/>
        </pc:sldMkLst>
      </pc:sldChg>
      <pc:sldChg chg="modSp add mod">
        <pc:chgData name="Dominik Buchegger" userId="7f2052fac20aabcc" providerId="LiveId" clId="{60A6B131-A1EC-4E69-9D51-77A7C4B3FD15}" dt="2023-10-13T11:45:21.771" v="2120" actId="108"/>
        <pc:sldMkLst>
          <pc:docMk/>
          <pc:sldMk cId="2922153284" sldId="1514"/>
        </pc:sldMkLst>
        <pc:spChg chg="mod">
          <ac:chgData name="Dominik Buchegger" userId="7f2052fac20aabcc" providerId="LiveId" clId="{60A6B131-A1EC-4E69-9D51-77A7C4B3FD15}" dt="2023-10-13T11:45:21.771" v="2120" actId="108"/>
          <ac:spMkLst>
            <pc:docMk/>
            <pc:sldMk cId="2922153284" sldId="1514"/>
            <ac:spMk id="26" creationId="{713BACB4-1606-6D17-ED88-799842EB82BB}"/>
          </ac:spMkLst>
        </pc:spChg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56286098" sldId="1515"/>
        </pc:sldMkLst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652117708" sldId="1516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4018418723" sldId="1517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634550927" sldId="1518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189060386" sldId="1519"/>
        </pc:sldMkLst>
      </pc:sldChg>
      <pc:sldChg chg="del">
        <pc:chgData name="Dominik Buchegger" userId="7f2052fac20aabcc" providerId="LiveId" clId="{60A6B131-A1EC-4E69-9D51-77A7C4B3FD15}" dt="2023-10-13T10:59:16.899" v="19" actId="47"/>
        <pc:sldMkLst>
          <pc:docMk/>
          <pc:sldMk cId="1511887388" sldId="1522"/>
        </pc:sldMkLst>
      </pc:sldChg>
      <pc:sldChg chg="addSp delSp modSp mod">
        <pc:chgData name="Dominik Buchegger" userId="7f2052fac20aabcc" providerId="LiveId" clId="{60A6B131-A1EC-4E69-9D51-77A7C4B3FD15}" dt="2023-10-13T11:11:44.696" v="759" actId="1076"/>
        <pc:sldMkLst>
          <pc:docMk/>
          <pc:sldMk cId="3803677821" sldId="1523"/>
        </pc:sldMkLst>
        <pc:spChg chg="add mod">
          <ac:chgData name="Dominik Buchegger" userId="7f2052fac20aabcc" providerId="LiveId" clId="{60A6B131-A1EC-4E69-9D51-77A7C4B3FD15}" dt="2023-10-13T11:02:44.351" v="316" actId="20577"/>
          <ac:spMkLst>
            <pc:docMk/>
            <pc:sldMk cId="3803677821" sldId="1523"/>
            <ac:spMk id="3" creationId="{E9EEB67D-B503-B10B-DC09-C352111C6843}"/>
          </ac:spMkLst>
        </pc:spChg>
        <pc:spChg chg="add del mod">
          <ac:chgData name="Dominik Buchegger" userId="7f2052fac20aabcc" providerId="LiveId" clId="{60A6B131-A1EC-4E69-9D51-77A7C4B3FD15}" dt="2023-10-13T11:11:27.955" v="739" actId="478"/>
          <ac:spMkLst>
            <pc:docMk/>
            <pc:sldMk cId="3803677821" sldId="1523"/>
            <ac:spMk id="6" creationId="{1B08CE1C-46AB-BDD2-96EC-1FDC64AADF38}"/>
          </ac:spMkLst>
        </pc:spChg>
        <pc:spChg chg="del">
          <ac:chgData name="Dominik Buchegger" userId="7f2052fac20aabcc" providerId="LiveId" clId="{60A6B131-A1EC-4E69-9D51-77A7C4B3FD15}" dt="2023-10-13T11:08:44.014" v="678" actId="478"/>
          <ac:spMkLst>
            <pc:docMk/>
            <pc:sldMk cId="3803677821" sldId="1523"/>
            <ac:spMk id="10" creationId="{ACBC3E87-0B18-EA55-C240-314963CCADDB}"/>
          </ac:spMkLst>
        </pc:spChg>
        <pc:spChg chg="mod">
          <ac:chgData name="Dominik Buchegger" userId="7f2052fac20aabcc" providerId="LiveId" clId="{60A6B131-A1EC-4E69-9D51-77A7C4B3FD15}" dt="2023-10-13T11:11:28.106" v="744" actId="20577"/>
          <ac:spMkLst>
            <pc:docMk/>
            <pc:sldMk cId="3803677821" sldId="1523"/>
            <ac:spMk id="22" creationId="{265CBB9D-C18A-80C2-472E-1C084050581B}"/>
          </ac:spMkLst>
        </pc:spChg>
        <pc:picChg chg="add del mod">
          <ac:chgData name="Dominik Buchegger" userId="7f2052fac20aabcc" providerId="LiveId" clId="{60A6B131-A1EC-4E69-9D51-77A7C4B3FD15}" dt="2023-10-13T11:11:28.216" v="747" actId="14100"/>
          <ac:picMkLst>
            <pc:docMk/>
            <pc:sldMk cId="3803677821" sldId="1523"/>
            <ac:picMk id="8" creationId="{AFD2939A-3DA8-113E-9F17-67A8772DBD6C}"/>
          </ac:picMkLst>
        </pc:picChg>
        <pc:picChg chg="add del">
          <ac:chgData name="Dominik Buchegger" userId="7f2052fac20aabcc" providerId="LiveId" clId="{60A6B131-A1EC-4E69-9D51-77A7C4B3FD15}" dt="2023-10-13T11:11:27.271" v="733" actId="478"/>
          <ac:picMkLst>
            <pc:docMk/>
            <pc:sldMk cId="3803677821" sldId="1523"/>
            <ac:picMk id="9" creationId="{5694CFC4-3AA4-6736-BC2B-DF504FA3D57D}"/>
          </ac:picMkLst>
        </pc:picChg>
        <pc:picChg chg="add del mod modCrop">
          <ac:chgData name="Dominik Buchegger" userId="7f2052fac20aabcc" providerId="LiveId" clId="{60A6B131-A1EC-4E69-9D51-77A7C4B3FD15}" dt="2023-10-13T11:11:37.697" v="756" actId="21"/>
          <ac:picMkLst>
            <pc:docMk/>
            <pc:sldMk cId="3803677821" sldId="1523"/>
            <ac:picMk id="12" creationId="{9DE3BE11-E030-C77A-8D2B-071CC8602E7B}"/>
          </ac:picMkLst>
        </pc:picChg>
        <pc:picChg chg="add mod">
          <ac:chgData name="Dominik Buchegger" userId="7f2052fac20aabcc" providerId="LiveId" clId="{60A6B131-A1EC-4E69-9D51-77A7C4B3FD15}" dt="2023-10-13T11:11:44.696" v="759" actId="1076"/>
          <ac:picMkLst>
            <pc:docMk/>
            <pc:sldMk cId="3803677821" sldId="1523"/>
            <ac:picMk id="13" creationId="{05400668-9B06-5BA4-93CF-D45A189F0332}"/>
          </ac:picMkLst>
        </pc:picChg>
        <pc:picChg chg="add mod">
          <ac:chgData name="Dominik Buchegger" userId="7f2052fac20aabcc" providerId="LiveId" clId="{60A6B131-A1EC-4E69-9D51-77A7C4B3FD15}" dt="2023-10-13T11:11:40.411" v="758" actId="14100"/>
          <ac:picMkLst>
            <pc:docMk/>
            <pc:sldMk cId="3803677821" sldId="1523"/>
            <ac:picMk id="14" creationId="{89789952-8C9F-B33B-FA9A-24DD3C727CF6}"/>
          </ac:picMkLst>
        </pc:picChg>
      </pc:sldChg>
      <pc:sldChg chg="add del">
        <pc:chgData name="Dominik Buchegger" userId="7f2052fac20aabcc" providerId="LiveId" clId="{60A6B131-A1EC-4E69-9D51-77A7C4B3FD15}" dt="2023-10-13T11:31:57.357" v="1969" actId="47"/>
        <pc:sldMkLst>
          <pc:docMk/>
          <pc:sldMk cId="3180151054" sldId="1526"/>
        </pc:sldMkLst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4007405519" sldId="1527"/>
        </pc:sldMkLst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2875370425" sldId="1528"/>
        </pc:sldMkLst>
      </pc:sldChg>
      <pc:sldChg chg="add ord">
        <pc:chgData name="Dominik Buchegger" userId="7f2052fac20aabcc" providerId="LiveId" clId="{60A6B131-A1EC-4E69-9D51-77A7C4B3FD15}" dt="2023-10-13T11:46:22.751" v="2128"/>
        <pc:sldMkLst>
          <pc:docMk/>
          <pc:sldMk cId="400506084" sldId="1529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1344915621" sldId="1530"/>
        </pc:sldMkLst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2404479511" sldId="1530"/>
        </pc:sldMkLst>
      </pc:sldChg>
      <pc:sldChg chg="addSp modSp add mod">
        <pc:chgData name="Dominik Buchegger" userId="7f2052fac20aabcc" providerId="LiveId" clId="{60A6B131-A1EC-4E69-9D51-77A7C4B3FD15}" dt="2023-10-13T11:34:02.371" v="1983" actId="1076"/>
        <pc:sldMkLst>
          <pc:docMk/>
          <pc:sldMk cId="1757051100" sldId="1531"/>
        </pc:sldMkLst>
        <pc:picChg chg="add mod">
          <ac:chgData name="Dominik Buchegger" userId="7f2052fac20aabcc" providerId="LiveId" clId="{60A6B131-A1EC-4E69-9D51-77A7C4B3FD15}" dt="2023-10-13T11:34:02.371" v="1983" actId="1076"/>
          <ac:picMkLst>
            <pc:docMk/>
            <pc:sldMk cId="1757051100" sldId="1531"/>
            <ac:picMk id="8" creationId="{2082411E-5DC3-71FB-4685-5914CD85A93E}"/>
          </ac:picMkLst>
        </pc:picChg>
      </pc:sldChg>
      <pc:sldChg chg="addSp modSp add mod">
        <pc:chgData name="Dominik Buchegger" userId="7f2052fac20aabcc" providerId="LiveId" clId="{60A6B131-A1EC-4E69-9D51-77A7C4B3FD15}" dt="2023-10-13T11:36:31.267" v="1995" actId="1076"/>
        <pc:sldMkLst>
          <pc:docMk/>
          <pc:sldMk cId="1236088309" sldId="1532"/>
        </pc:sldMkLst>
        <pc:picChg chg="add mod">
          <ac:chgData name="Dominik Buchegger" userId="7f2052fac20aabcc" providerId="LiveId" clId="{60A6B131-A1EC-4E69-9D51-77A7C4B3FD15}" dt="2023-10-13T11:36:31.267" v="1995" actId="1076"/>
          <ac:picMkLst>
            <pc:docMk/>
            <pc:sldMk cId="1236088309" sldId="1532"/>
            <ac:picMk id="8" creationId="{3DD6DC94-4A63-922F-F461-0F6BD9BE4D22}"/>
          </ac:picMkLst>
        </pc:picChg>
        <pc:picChg chg="add mod">
          <ac:chgData name="Dominik Buchegger" userId="7f2052fac20aabcc" providerId="LiveId" clId="{60A6B131-A1EC-4E69-9D51-77A7C4B3FD15}" dt="2023-10-13T11:36:24.708" v="1994" actId="1076"/>
          <ac:picMkLst>
            <pc:docMk/>
            <pc:sldMk cId="1236088309" sldId="1532"/>
            <ac:picMk id="13" creationId="{155C5C0C-FA41-CF2E-E0DC-2D171B879EFE}"/>
          </ac:picMkLst>
        </pc:picChg>
      </pc:sldChg>
      <pc:sldChg chg="addSp delSp modSp add mod">
        <pc:chgData name="Dominik Buchegger" userId="7f2052fac20aabcc" providerId="LiveId" clId="{60A6B131-A1EC-4E69-9D51-77A7C4B3FD15}" dt="2023-10-13T11:38:30.231" v="2011" actId="14100"/>
        <pc:sldMkLst>
          <pc:docMk/>
          <pc:sldMk cId="3130344191" sldId="1533"/>
        </pc:sldMkLst>
        <pc:picChg chg="add del mod">
          <ac:chgData name="Dominik Buchegger" userId="7f2052fac20aabcc" providerId="LiveId" clId="{60A6B131-A1EC-4E69-9D51-77A7C4B3FD15}" dt="2023-10-13T11:37:56.929" v="2002" actId="21"/>
          <ac:picMkLst>
            <pc:docMk/>
            <pc:sldMk cId="3130344191" sldId="1533"/>
            <ac:picMk id="8" creationId="{A7464B26-FDCF-77AD-0FC2-E41C658363A8}"/>
          </ac:picMkLst>
        </pc:picChg>
        <pc:picChg chg="add mod">
          <ac:chgData name="Dominik Buchegger" userId="7f2052fac20aabcc" providerId="LiveId" clId="{60A6B131-A1EC-4E69-9D51-77A7C4B3FD15}" dt="2023-10-13T11:38:30.231" v="2011" actId="14100"/>
          <ac:picMkLst>
            <pc:docMk/>
            <pc:sldMk cId="3130344191" sldId="1533"/>
            <ac:picMk id="13" creationId="{7CE2186C-CF34-DA5D-436B-9C59407D0CD5}"/>
          </ac:picMkLst>
        </pc:picChg>
      </pc:sldChg>
      <pc:sldChg chg="addSp delSp modSp add mod">
        <pc:chgData name="Dominik Buchegger" userId="7f2052fac20aabcc" providerId="LiveId" clId="{60A6B131-A1EC-4E69-9D51-77A7C4B3FD15}" dt="2023-10-13T11:39:35.263" v="2016" actId="1076"/>
        <pc:sldMkLst>
          <pc:docMk/>
          <pc:sldMk cId="3225741853" sldId="1534"/>
        </pc:sldMkLst>
        <pc:picChg chg="add del mod">
          <ac:chgData name="Dominik Buchegger" userId="7f2052fac20aabcc" providerId="LiveId" clId="{60A6B131-A1EC-4E69-9D51-77A7C4B3FD15}" dt="2023-10-13T11:39:27.394" v="2012" actId="478"/>
          <ac:picMkLst>
            <pc:docMk/>
            <pc:sldMk cId="3225741853" sldId="1534"/>
            <ac:picMk id="6" creationId="{1BE3F8D4-F523-CA07-6BF1-B1F32ECF1F5F}"/>
          </ac:picMkLst>
        </pc:picChg>
        <pc:picChg chg="add mod">
          <ac:chgData name="Dominik Buchegger" userId="7f2052fac20aabcc" providerId="LiveId" clId="{60A6B131-A1EC-4E69-9D51-77A7C4B3FD15}" dt="2023-10-13T11:39:35.263" v="2016" actId="1076"/>
          <ac:picMkLst>
            <pc:docMk/>
            <pc:sldMk cId="3225741853" sldId="1534"/>
            <ac:picMk id="11" creationId="{70836B8C-25AA-E3BA-F6BF-8C75008A6E14}"/>
          </ac:picMkLst>
        </pc:picChg>
      </pc:sldChg>
      <pc:sldChg chg="delSp modSp add mod">
        <pc:chgData name="Dominik Buchegger" userId="7f2052fac20aabcc" providerId="LiveId" clId="{60A6B131-A1EC-4E69-9D51-77A7C4B3FD15}" dt="2023-10-13T11:44:05.040" v="2019" actId="478"/>
        <pc:sldMkLst>
          <pc:docMk/>
          <pc:sldMk cId="2184404822" sldId="1535"/>
        </pc:sldMkLst>
        <pc:spChg chg="del mod">
          <ac:chgData name="Dominik Buchegger" userId="7f2052fac20aabcc" providerId="LiveId" clId="{60A6B131-A1EC-4E69-9D51-77A7C4B3FD15}" dt="2023-10-13T11:44:05.040" v="2019" actId="478"/>
          <ac:spMkLst>
            <pc:docMk/>
            <pc:sldMk cId="2184404822" sldId="1535"/>
            <ac:spMk id="13" creationId="{0B2C50B2-E8C5-88B7-2285-AAA2B1F0AC49}"/>
          </ac:spMkLst>
        </pc:spChg>
      </pc:sldChg>
      <pc:sldChg chg="del">
        <pc:chgData name="Dominik Buchegger" userId="7f2052fac20aabcc" providerId="LiveId" clId="{60A6B131-A1EC-4E69-9D51-77A7C4B3FD15}" dt="2023-10-13T10:58:53.516" v="10" actId="47"/>
        <pc:sldMkLst>
          <pc:docMk/>
          <pc:sldMk cId="1704093696" sldId="1542"/>
        </pc:sldMkLst>
      </pc:sldChg>
      <pc:sldChg chg="del">
        <pc:chgData name="Dominik Buchegger" userId="7f2052fac20aabcc" providerId="LiveId" clId="{60A6B131-A1EC-4E69-9D51-77A7C4B3FD15}" dt="2023-10-13T10:58:53.516" v="10" actId="47"/>
        <pc:sldMkLst>
          <pc:docMk/>
          <pc:sldMk cId="985433449" sldId="1543"/>
        </pc:sldMkLst>
      </pc:sldChg>
      <pc:sldChg chg="del">
        <pc:chgData name="Dominik Buchegger" userId="7f2052fac20aabcc" providerId="LiveId" clId="{60A6B131-A1EC-4E69-9D51-77A7C4B3FD15}" dt="2023-10-13T10:58:53.516" v="10" actId="47"/>
        <pc:sldMkLst>
          <pc:docMk/>
          <pc:sldMk cId="3995171968" sldId="1545"/>
        </pc:sldMkLst>
      </pc:sldChg>
      <pc:sldChg chg="del">
        <pc:chgData name="Dominik Buchegger" userId="7f2052fac20aabcc" providerId="LiveId" clId="{60A6B131-A1EC-4E69-9D51-77A7C4B3FD15}" dt="2023-10-13T10:58:53.516" v="10" actId="47"/>
        <pc:sldMkLst>
          <pc:docMk/>
          <pc:sldMk cId="1345530787" sldId="1546"/>
        </pc:sldMkLst>
      </pc:sldChg>
      <pc:sldChg chg="addSp modSp mod">
        <pc:chgData name="Dominik Buchegger" userId="7f2052fac20aabcc" providerId="LiveId" clId="{60A6B131-A1EC-4E69-9D51-77A7C4B3FD15}" dt="2023-10-13T11:13:11.509" v="767" actId="14100"/>
        <pc:sldMkLst>
          <pc:docMk/>
          <pc:sldMk cId="3358819934" sldId="1547"/>
        </pc:sldMkLst>
        <pc:spChg chg="add mod">
          <ac:chgData name="Dominik Buchegger" userId="7f2052fac20aabcc" providerId="LiveId" clId="{60A6B131-A1EC-4E69-9D51-77A7C4B3FD15}" dt="2023-10-13T11:04:23.834" v="375" actId="5793"/>
          <ac:spMkLst>
            <pc:docMk/>
            <pc:sldMk cId="3358819934" sldId="1547"/>
            <ac:spMk id="5" creationId="{F7F88ED1-1EAE-E075-8122-B2A6E890D52F}"/>
          </ac:spMkLst>
        </pc:spChg>
        <pc:spChg chg="add mod">
          <ac:chgData name="Dominik Buchegger" userId="7f2052fac20aabcc" providerId="LiveId" clId="{60A6B131-A1EC-4E69-9D51-77A7C4B3FD15}" dt="2023-10-13T11:07:10.312" v="607" actId="1076"/>
          <ac:spMkLst>
            <pc:docMk/>
            <pc:sldMk cId="3358819934" sldId="1547"/>
            <ac:spMk id="6" creationId="{A7A640A9-6A34-69B1-FD5F-F61CB2F90C3F}"/>
          </ac:spMkLst>
        </pc:spChg>
        <pc:spChg chg="add mod">
          <ac:chgData name="Dominik Buchegger" userId="7f2052fac20aabcc" providerId="LiveId" clId="{60A6B131-A1EC-4E69-9D51-77A7C4B3FD15}" dt="2023-10-13T11:13:11.509" v="767" actId="14100"/>
          <ac:spMkLst>
            <pc:docMk/>
            <pc:sldMk cId="3358819934" sldId="1547"/>
            <ac:spMk id="8" creationId="{79190725-6C5E-42D0-EEA3-C199D42B8873}"/>
          </ac:spMkLst>
        </pc:spChg>
      </pc:sldChg>
      <pc:sldChg chg="addSp delSp modSp mod">
        <pc:chgData name="Dominik Buchegger" userId="7f2052fac20aabcc" providerId="LiveId" clId="{60A6B131-A1EC-4E69-9D51-77A7C4B3FD15}" dt="2023-10-13T11:13:54.950" v="779" actId="14100"/>
        <pc:sldMkLst>
          <pc:docMk/>
          <pc:sldMk cId="2005746944" sldId="1549"/>
        </pc:sldMkLst>
        <pc:spChg chg="add mod">
          <ac:chgData name="Dominik Buchegger" userId="7f2052fac20aabcc" providerId="LiveId" clId="{60A6B131-A1EC-4E69-9D51-77A7C4B3FD15}" dt="2023-10-13T11:04:03.300" v="370" actId="20577"/>
          <ac:spMkLst>
            <pc:docMk/>
            <pc:sldMk cId="2005746944" sldId="1549"/>
            <ac:spMk id="3" creationId="{B495A6DB-D1D9-E19E-65D4-17FA6A89FAB4}"/>
          </ac:spMkLst>
        </pc:spChg>
        <pc:spChg chg="add mod">
          <ac:chgData name="Dominik Buchegger" userId="7f2052fac20aabcc" providerId="LiveId" clId="{60A6B131-A1EC-4E69-9D51-77A7C4B3FD15}" dt="2023-10-13T11:13:36.238" v="773" actId="14100"/>
          <ac:spMkLst>
            <pc:docMk/>
            <pc:sldMk cId="2005746944" sldId="1549"/>
            <ac:spMk id="7" creationId="{5BF464A8-2449-DC25-138E-32EA8DE27A02}"/>
          </ac:spMkLst>
        </pc:spChg>
        <pc:spChg chg="mod">
          <ac:chgData name="Dominik Buchegger" userId="7f2052fac20aabcc" providerId="LiveId" clId="{60A6B131-A1EC-4E69-9D51-77A7C4B3FD15}" dt="2023-10-13T11:13:41.183" v="776" actId="1076"/>
          <ac:spMkLst>
            <pc:docMk/>
            <pc:sldMk cId="2005746944" sldId="1549"/>
            <ac:spMk id="8" creationId="{CC9F14B6-8F29-4215-200E-BE3B89CC6463}"/>
          </ac:spMkLst>
        </pc:spChg>
        <pc:spChg chg="add mod">
          <ac:chgData name="Dominik Buchegger" userId="7f2052fac20aabcc" providerId="LiveId" clId="{60A6B131-A1EC-4E69-9D51-77A7C4B3FD15}" dt="2023-10-13T11:13:54.950" v="779" actId="14100"/>
          <ac:spMkLst>
            <pc:docMk/>
            <pc:sldMk cId="2005746944" sldId="1549"/>
            <ac:spMk id="9" creationId="{428A8FFD-9BFE-41C1-B781-584EEB903BEE}"/>
          </ac:spMkLst>
        </pc:spChg>
        <pc:spChg chg="mod">
          <ac:chgData name="Dominik Buchegger" userId="7f2052fac20aabcc" providerId="LiveId" clId="{60A6B131-A1EC-4E69-9D51-77A7C4B3FD15}" dt="2023-10-13T11:12:16.246" v="760" actId="20577"/>
          <ac:spMkLst>
            <pc:docMk/>
            <pc:sldMk cId="2005746944" sldId="1549"/>
            <ac:spMk id="10" creationId="{152B4C01-FD5A-438C-6A94-20387C35A4B6}"/>
          </ac:spMkLst>
        </pc:spChg>
        <pc:picChg chg="add del mod">
          <ac:chgData name="Dominik Buchegger" userId="7f2052fac20aabcc" providerId="LiveId" clId="{60A6B131-A1EC-4E69-9D51-77A7C4B3FD15}" dt="2023-10-13T11:13:20.250" v="769"/>
          <ac:picMkLst>
            <pc:docMk/>
            <pc:sldMk cId="2005746944" sldId="1549"/>
            <ac:picMk id="5" creationId="{F78D05FB-AF36-31B3-01FC-215C483E067E}"/>
          </ac:picMkLst>
        </pc:picChg>
      </pc:sldChg>
      <pc:sldChg chg="addSp delSp modSp mod">
        <pc:chgData name="Dominik Buchegger" userId="7f2052fac20aabcc" providerId="LiveId" clId="{60A6B131-A1EC-4E69-9D51-77A7C4B3FD15}" dt="2023-10-13T11:14:15.420" v="785" actId="1038"/>
        <pc:sldMkLst>
          <pc:docMk/>
          <pc:sldMk cId="3415766370" sldId="1550"/>
        </pc:sldMkLst>
        <pc:spChg chg="add del">
          <ac:chgData name="Dominik Buchegger" userId="7f2052fac20aabcc" providerId="LiveId" clId="{60A6B131-A1EC-4E69-9D51-77A7C4B3FD15}" dt="2023-10-13T11:04:47.834" v="377" actId="22"/>
          <ac:spMkLst>
            <pc:docMk/>
            <pc:sldMk cId="3415766370" sldId="1550"/>
            <ac:spMk id="5" creationId="{ACFE4DE4-AE48-2654-DC63-B0730D480D88}"/>
          </ac:spMkLst>
        </pc:spChg>
        <pc:spChg chg="add mod">
          <ac:chgData name="Dominik Buchegger" userId="7f2052fac20aabcc" providerId="LiveId" clId="{60A6B131-A1EC-4E69-9D51-77A7C4B3FD15}" dt="2023-10-13T11:05:15.281" v="442" actId="20577"/>
          <ac:spMkLst>
            <pc:docMk/>
            <pc:sldMk cId="3415766370" sldId="1550"/>
            <ac:spMk id="6" creationId="{92CEF2F0-E1E5-AC3F-8623-5E68F09840ED}"/>
          </ac:spMkLst>
        </pc:spChg>
        <pc:spChg chg="add mod">
          <ac:chgData name="Dominik Buchegger" userId="7f2052fac20aabcc" providerId="LiveId" clId="{60A6B131-A1EC-4E69-9D51-77A7C4B3FD15}" dt="2023-10-13T11:08:08.973" v="673" actId="1076"/>
          <ac:spMkLst>
            <pc:docMk/>
            <pc:sldMk cId="3415766370" sldId="1550"/>
            <ac:spMk id="8" creationId="{6E73EE20-8529-5BD0-F27D-9F52579389C8}"/>
          </ac:spMkLst>
        </pc:spChg>
        <pc:spChg chg="add mod">
          <ac:chgData name="Dominik Buchegger" userId="7f2052fac20aabcc" providerId="LiveId" clId="{60A6B131-A1EC-4E69-9D51-77A7C4B3FD15}" dt="2023-10-13T11:14:15.420" v="785" actId="1038"/>
          <ac:spMkLst>
            <pc:docMk/>
            <pc:sldMk cId="3415766370" sldId="1550"/>
            <ac:spMk id="11" creationId="{39C11EE7-8384-93AD-1321-09F0F52B2746}"/>
          </ac:spMkLst>
        </pc:spChg>
        <pc:spChg chg="mod">
          <ac:chgData name="Dominik Buchegger" userId="7f2052fac20aabcc" providerId="LiveId" clId="{60A6B131-A1EC-4E69-9D51-77A7C4B3FD15}" dt="2023-10-13T11:08:22.949" v="677" actId="1076"/>
          <ac:spMkLst>
            <pc:docMk/>
            <pc:sldMk cId="3415766370" sldId="1550"/>
            <ac:spMk id="17" creationId="{4EE5DFD5-6E52-15F5-AA1C-AEC6CCECFD08}"/>
          </ac:spMkLst>
        </pc:spChg>
        <pc:spChg chg="del mod">
          <ac:chgData name="Dominik Buchegger" userId="7f2052fac20aabcc" providerId="LiveId" clId="{60A6B131-A1EC-4E69-9D51-77A7C4B3FD15}" dt="2023-10-13T11:08:18.668" v="676" actId="478"/>
          <ac:spMkLst>
            <pc:docMk/>
            <pc:sldMk cId="3415766370" sldId="1550"/>
            <ac:spMk id="20" creationId="{0D18305D-5E41-EEAC-D6E1-A5C2C21884B1}"/>
          </ac:spMkLst>
        </pc:spChg>
        <pc:picChg chg="mod">
          <ac:chgData name="Dominik Buchegger" userId="7f2052fac20aabcc" providerId="LiveId" clId="{60A6B131-A1EC-4E69-9D51-77A7C4B3FD15}" dt="2023-10-13T11:08:14.846" v="674" actId="1076"/>
          <ac:picMkLst>
            <pc:docMk/>
            <pc:sldMk cId="3415766370" sldId="1550"/>
            <ac:picMk id="12" creationId="{21AA93A9-BF2F-A96E-5704-E35C0E7FC13F}"/>
          </ac:picMkLst>
        </pc:picChg>
        <pc:picChg chg="mod">
          <ac:chgData name="Dominik Buchegger" userId="7f2052fac20aabcc" providerId="LiveId" clId="{60A6B131-A1EC-4E69-9D51-77A7C4B3FD15}" dt="2023-10-13T11:08:08.973" v="673" actId="1076"/>
          <ac:picMkLst>
            <pc:docMk/>
            <pc:sldMk cId="3415766370" sldId="1550"/>
            <ac:picMk id="15" creationId="{F9B2EB1E-BCA5-0C4F-6E31-169B0FE62A84}"/>
          </ac:picMkLst>
        </pc:picChg>
      </pc:sldChg>
      <pc:sldChg chg="addSp modSp mod">
        <pc:chgData name="Dominik Buchegger" userId="7f2052fac20aabcc" providerId="LiveId" clId="{60A6B131-A1EC-4E69-9D51-77A7C4B3FD15}" dt="2023-10-13T11:17:26.708" v="974" actId="20577"/>
        <pc:sldMkLst>
          <pc:docMk/>
          <pc:sldMk cId="3672645683" sldId="1551"/>
        </pc:sldMkLst>
        <pc:spChg chg="mod">
          <ac:chgData name="Dominik Buchegger" userId="7f2052fac20aabcc" providerId="LiveId" clId="{60A6B131-A1EC-4E69-9D51-77A7C4B3FD15}" dt="2023-10-13T11:15:03.338" v="788" actId="1076"/>
          <ac:spMkLst>
            <pc:docMk/>
            <pc:sldMk cId="3672645683" sldId="1551"/>
            <ac:spMk id="3" creationId="{15BC3D1F-0A51-C173-A388-EAC74E426657}"/>
          </ac:spMkLst>
        </pc:spChg>
        <pc:spChg chg="add mod">
          <ac:chgData name="Dominik Buchegger" userId="7f2052fac20aabcc" providerId="LiveId" clId="{60A6B131-A1EC-4E69-9D51-77A7C4B3FD15}" dt="2023-10-13T11:17:26.708" v="974" actId="20577"/>
          <ac:spMkLst>
            <pc:docMk/>
            <pc:sldMk cId="3672645683" sldId="1551"/>
            <ac:spMk id="6" creationId="{8A13E77F-E16F-8AD0-3B47-8DB82A6DD50D}"/>
          </ac:spMkLst>
        </pc:spChg>
        <pc:picChg chg="mod">
          <ac:chgData name="Dominik Buchegger" userId="7f2052fac20aabcc" providerId="LiveId" clId="{60A6B131-A1EC-4E69-9D51-77A7C4B3FD15}" dt="2023-10-13T11:15:06.807" v="789" actId="1076"/>
          <ac:picMkLst>
            <pc:docMk/>
            <pc:sldMk cId="3672645683" sldId="1551"/>
            <ac:picMk id="5" creationId="{CED2D2AA-5B01-85A6-4E17-BCC0B7E0F430}"/>
          </ac:picMkLst>
        </pc:picChg>
      </pc:sldChg>
      <pc:sldChg chg="addSp delSp modSp mod">
        <pc:chgData name="Dominik Buchegger" userId="7f2052fac20aabcc" providerId="LiveId" clId="{60A6B131-A1EC-4E69-9D51-77A7C4B3FD15}" dt="2023-10-13T11:29:02.279" v="1948" actId="1076"/>
        <pc:sldMkLst>
          <pc:docMk/>
          <pc:sldMk cId="3893471197" sldId="1552"/>
        </pc:sldMkLst>
        <pc:spChg chg="mod">
          <ac:chgData name="Dominik Buchegger" userId="7f2052fac20aabcc" providerId="LiveId" clId="{60A6B131-A1EC-4E69-9D51-77A7C4B3FD15}" dt="2023-10-13T11:17:47.389" v="976" actId="20577"/>
          <ac:spMkLst>
            <pc:docMk/>
            <pc:sldMk cId="3893471197" sldId="1552"/>
            <ac:spMk id="2" creationId="{8BF1B61B-0C25-A347-8E82-9E36B55C7C82}"/>
          </ac:spMkLst>
        </pc:spChg>
        <pc:spChg chg="add del mod">
          <ac:chgData name="Dominik Buchegger" userId="7f2052fac20aabcc" providerId="LiveId" clId="{60A6B131-A1EC-4E69-9D51-77A7C4B3FD15}" dt="2023-10-13T11:24:14.017" v="1387" actId="1076"/>
          <ac:spMkLst>
            <pc:docMk/>
            <pc:sldMk cId="3893471197" sldId="1552"/>
            <ac:spMk id="3" creationId="{AA8AF9FC-94D2-36F4-B622-714165A48939}"/>
          </ac:spMkLst>
        </pc:spChg>
        <pc:spChg chg="add del mod">
          <ac:chgData name="Dominik Buchegger" userId="7f2052fac20aabcc" providerId="LiveId" clId="{60A6B131-A1EC-4E69-9D51-77A7C4B3FD15}" dt="2023-10-13T11:24:54.560" v="1393" actId="478"/>
          <ac:spMkLst>
            <pc:docMk/>
            <pc:sldMk cId="3893471197" sldId="1552"/>
            <ac:spMk id="11" creationId="{DB2C4CD8-3299-BCE2-D0D3-29E820912909}"/>
          </ac:spMkLst>
        </pc:spChg>
        <pc:spChg chg="mod">
          <ac:chgData name="Dominik Buchegger" userId="7f2052fac20aabcc" providerId="LiveId" clId="{60A6B131-A1EC-4E69-9D51-77A7C4B3FD15}" dt="2023-10-13T11:29:02.279" v="1948" actId="1076"/>
          <ac:spMkLst>
            <pc:docMk/>
            <pc:sldMk cId="3893471197" sldId="1552"/>
            <ac:spMk id="15" creationId="{6CABEB7D-E687-7DE7-CDC1-10ECCC21504C}"/>
          </ac:spMkLst>
        </pc:spChg>
        <pc:spChg chg="mod">
          <ac:chgData name="Dominik Buchegger" userId="7f2052fac20aabcc" providerId="LiveId" clId="{60A6B131-A1EC-4E69-9D51-77A7C4B3FD15}" dt="2023-10-13T11:28:53.137" v="1947" actId="1076"/>
          <ac:spMkLst>
            <pc:docMk/>
            <pc:sldMk cId="3893471197" sldId="1552"/>
            <ac:spMk id="16" creationId="{0FC4A479-6C88-C116-62F4-68F4B7C20B65}"/>
          </ac:spMkLst>
        </pc:spChg>
        <pc:grpChg chg="add mod">
          <ac:chgData name="Dominik Buchegger" userId="7f2052fac20aabcc" providerId="LiveId" clId="{60A6B131-A1EC-4E69-9D51-77A7C4B3FD15}" dt="2023-10-13T11:24:10.747" v="1386" actId="1076"/>
          <ac:grpSpMkLst>
            <pc:docMk/>
            <pc:sldMk cId="3893471197" sldId="1552"/>
            <ac:grpSpMk id="20" creationId="{224B6A23-65EA-B9E9-A779-82EBF7788387}"/>
          </ac:grpSpMkLst>
        </pc:grpChg>
        <pc:picChg chg="add del mod">
          <ac:chgData name="Dominik Buchegger" userId="7f2052fac20aabcc" providerId="LiveId" clId="{60A6B131-A1EC-4E69-9D51-77A7C4B3FD15}" dt="2023-10-13T11:24:17.859" v="1388" actId="1076"/>
          <ac:picMkLst>
            <pc:docMk/>
            <pc:sldMk cId="3893471197" sldId="1552"/>
            <ac:picMk id="5" creationId="{D0DBFBDA-E497-22AC-B250-20009E7AA76D}"/>
          </ac:picMkLst>
        </pc:picChg>
        <pc:picChg chg="add del mod">
          <ac:chgData name="Dominik Buchegger" userId="7f2052fac20aabcc" providerId="LiveId" clId="{60A6B131-A1EC-4E69-9D51-77A7C4B3FD15}" dt="2023-10-13T11:22:12.982" v="1354" actId="14100"/>
          <ac:picMkLst>
            <pc:docMk/>
            <pc:sldMk cId="3893471197" sldId="1552"/>
            <ac:picMk id="6" creationId="{8A8C354B-AA91-E049-27BD-9FEB2BCD881B}"/>
          </ac:picMkLst>
        </pc:picChg>
        <pc:picChg chg="add del mod modCrop">
          <ac:chgData name="Dominik Buchegger" userId="7f2052fac20aabcc" providerId="LiveId" clId="{60A6B131-A1EC-4E69-9D51-77A7C4B3FD15}" dt="2023-10-13T11:22:35.867" v="1364" actId="1076"/>
          <ac:picMkLst>
            <pc:docMk/>
            <pc:sldMk cId="3893471197" sldId="1552"/>
            <ac:picMk id="8" creationId="{6814A0C2-FE0B-2DC4-9EA8-0E124EC66049}"/>
          </ac:picMkLst>
        </pc:picChg>
        <pc:picChg chg="add del">
          <ac:chgData name="Dominik Buchegger" userId="7f2052fac20aabcc" providerId="LiveId" clId="{60A6B131-A1EC-4E69-9D51-77A7C4B3FD15}" dt="2023-10-13T11:22:12.439" v="1340" actId="478"/>
          <ac:picMkLst>
            <pc:docMk/>
            <pc:sldMk cId="3893471197" sldId="1552"/>
            <ac:picMk id="12" creationId="{FE9954F3-C4D6-D235-BDBC-CD042C56D5EA}"/>
          </ac:picMkLst>
        </pc:picChg>
        <pc:picChg chg="add mod modCrop">
          <ac:chgData name="Dominik Buchegger" userId="7f2052fac20aabcc" providerId="LiveId" clId="{60A6B131-A1EC-4E69-9D51-77A7C4B3FD15}" dt="2023-10-13T11:23:48.679" v="1383" actId="164"/>
          <ac:picMkLst>
            <pc:docMk/>
            <pc:sldMk cId="3893471197" sldId="1552"/>
            <ac:picMk id="13" creationId="{2ECB3A18-AEBC-6E96-858E-5423114412B6}"/>
          </ac:picMkLst>
        </pc:picChg>
        <pc:picChg chg="add del">
          <ac:chgData name="Dominik Buchegger" userId="7f2052fac20aabcc" providerId="LiveId" clId="{60A6B131-A1EC-4E69-9D51-77A7C4B3FD15}" dt="2023-10-13T11:22:12.502" v="1341" actId="478"/>
          <ac:picMkLst>
            <pc:docMk/>
            <pc:sldMk cId="3893471197" sldId="1552"/>
            <ac:picMk id="14" creationId="{257CA445-84C6-E8F6-2079-BE23811BE0C7}"/>
          </ac:picMkLst>
        </pc:picChg>
        <pc:picChg chg="add del mod">
          <ac:chgData name="Dominik Buchegger" userId="7f2052fac20aabcc" providerId="LiveId" clId="{60A6B131-A1EC-4E69-9D51-77A7C4B3FD15}" dt="2023-10-13T11:22:41.038" v="1368" actId="478"/>
          <ac:picMkLst>
            <pc:docMk/>
            <pc:sldMk cId="3893471197" sldId="1552"/>
            <ac:picMk id="17" creationId="{6F3495E4-63DB-0F40-B815-ADB16EF9E2DA}"/>
          </ac:picMkLst>
        </pc:picChg>
        <pc:picChg chg="add mod modCrop">
          <ac:chgData name="Dominik Buchegger" userId="7f2052fac20aabcc" providerId="LiveId" clId="{60A6B131-A1EC-4E69-9D51-77A7C4B3FD15}" dt="2023-10-13T11:24:08.242" v="1385" actId="1076"/>
          <ac:picMkLst>
            <pc:docMk/>
            <pc:sldMk cId="3893471197" sldId="1552"/>
            <ac:picMk id="18" creationId="{9FF217EE-1843-8E46-49D3-C44274927FAE}"/>
          </ac:picMkLst>
        </pc:picChg>
        <pc:picChg chg="add mod modCrop">
          <ac:chgData name="Dominik Buchegger" userId="7f2052fac20aabcc" providerId="LiveId" clId="{60A6B131-A1EC-4E69-9D51-77A7C4B3FD15}" dt="2023-10-13T11:23:48.679" v="1383" actId="164"/>
          <ac:picMkLst>
            <pc:docMk/>
            <pc:sldMk cId="3893471197" sldId="1552"/>
            <ac:picMk id="19" creationId="{1E93B539-8677-09EF-E976-15ACE4E6E1E4}"/>
          </ac:picMkLst>
        </pc:picChg>
        <pc:picChg chg="add mod">
          <ac:chgData name="Dominik Buchegger" userId="7f2052fac20aabcc" providerId="LiveId" clId="{60A6B131-A1EC-4E69-9D51-77A7C4B3FD15}" dt="2023-10-13T11:24:49.791" v="1392" actId="1076"/>
          <ac:picMkLst>
            <pc:docMk/>
            <pc:sldMk cId="3893471197" sldId="1552"/>
            <ac:picMk id="21" creationId="{98B4AD61-816D-8D76-769C-B3F381A830F8}"/>
          </ac:picMkLst>
        </pc:picChg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177042120" sldId="1553"/>
        </pc:sldMkLst>
      </pc:sldChg>
      <pc:sldChg chg="modSp add del mod ord">
        <pc:chgData name="Dominik Buchegger" userId="7f2052fac20aabcc" providerId="LiveId" clId="{60A6B131-A1EC-4E69-9D51-77A7C4B3FD15}" dt="2023-10-13T11:39:44.477" v="2017" actId="47"/>
        <pc:sldMkLst>
          <pc:docMk/>
          <pc:sldMk cId="1827072514" sldId="1554"/>
        </pc:sldMkLst>
        <pc:spChg chg="mod">
          <ac:chgData name="Dominik Buchegger" userId="7f2052fac20aabcc" providerId="LiveId" clId="{60A6B131-A1EC-4E69-9D51-77A7C4B3FD15}" dt="2023-10-13T11:32:22.622" v="1979" actId="20577"/>
          <ac:spMkLst>
            <pc:docMk/>
            <pc:sldMk cId="1827072514" sldId="1554"/>
            <ac:spMk id="2" creationId="{76EA407A-0B5B-9B6F-C9D4-877962AE18C5}"/>
          </ac:spMkLst>
        </pc:spChg>
      </pc:sldChg>
      <pc:sldMasterChg chg="delSldLayout">
        <pc:chgData name="Dominik Buchegger" userId="7f2052fac20aabcc" providerId="LiveId" clId="{60A6B131-A1EC-4E69-9D51-77A7C4B3FD15}" dt="2023-10-13T11:29:25.041" v="1951" actId="47"/>
        <pc:sldMasterMkLst>
          <pc:docMk/>
          <pc:sldMasterMk cId="4246037650" sldId="2147483660"/>
        </pc:sldMasterMkLst>
        <pc:sldLayoutChg chg="del">
          <pc:chgData name="Dominik Buchegger" userId="7f2052fac20aabcc" providerId="LiveId" clId="{60A6B131-A1EC-4E69-9D51-77A7C4B3FD15}" dt="2023-10-13T11:29:25.041" v="1951" actId="47"/>
          <pc:sldLayoutMkLst>
            <pc:docMk/>
            <pc:sldMasterMk cId="4246037650" sldId="2147483660"/>
            <pc:sldLayoutMk cId="2498904313" sldId="2147483707"/>
          </pc:sldLayoutMkLst>
        </pc:sldLayoutChg>
      </pc:sldMasterChg>
    </pc:docChg>
  </pc:docChgLst>
  <pc:docChgLst>
    <pc:chgData name="Dominik Buchegger" userId="7f2052fac20aabcc" providerId="LiveId" clId="{CF54C7B0-0C24-437E-AEC1-F774AC07306D}"/>
    <pc:docChg chg="undo redo custSel addSld delSld modSld sldOrd">
      <pc:chgData name="Dominik Buchegger" userId="7f2052fac20aabcc" providerId="LiveId" clId="{CF54C7B0-0C24-437E-AEC1-F774AC07306D}" dt="2023-10-12T21:17:55.516" v="4780" actId="47"/>
      <pc:docMkLst>
        <pc:docMk/>
      </pc:docMkLst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2038474157" sldId="266"/>
        </pc:sldMkLst>
      </pc:sldChg>
      <pc:sldChg chg="add del">
        <pc:chgData name="Dominik Buchegger" userId="7f2052fac20aabcc" providerId="LiveId" clId="{CF54C7B0-0C24-437E-AEC1-F774AC07306D}" dt="2023-10-12T15:00:17.134" v="1445" actId="47"/>
        <pc:sldMkLst>
          <pc:docMk/>
          <pc:sldMk cId="4146315689" sldId="266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23873344" sldId="301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326644981" sldId="301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2660062927" sldId="302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3397543775" sldId="302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420543241" sldId="303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3682573708" sldId="303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531092861" sldId="304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1348316045" sldId="304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521506971" sldId="306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1445588967" sldId="306"/>
        </pc:sldMkLst>
      </pc:sldChg>
      <pc:sldChg chg="addSp delSp modSp">
        <pc:chgData name="Dominik Buchegger" userId="7f2052fac20aabcc" providerId="LiveId" clId="{CF54C7B0-0C24-437E-AEC1-F774AC07306D}" dt="2023-10-12T13:52:11.916" v="45"/>
        <pc:sldMkLst>
          <pc:docMk/>
          <pc:sldMk cId="860905568" sldId="1461"/>
        </pc:sldMkLst>
        <pc:picChg chg="add del mod">
          <ac:chgData name="Dominik Buchegger" userId="7f2052fac20aabcc" providerId="LiveId" clId="{CF54C7B0-0C24-437E-AEC1-F774AC07306D}" dt="2023-10-12T13:52:11.916" v="45"/>
          <ac:picMkLst>
            <pc:docMk/>
            <pc:sldMk cId="860905568" sldId="1461"/>
            <ac:picMk id="3" creationId="{5149BF26-9F32-31AD-496E-63E33DD8D15A}"/>
          </ac:picMkLst>
        </pc:picChg>
      </pc:sldChg>
      <pc:sldChg chg="addSp delSp modSp mod ord">
        <pc:chgData name="Dominik Buchegger" userId="7f2052fac20aabcc" providerId="LiveId" clId="{CF54C7B0-0C24-437E-AEC1-F774AC07306D}" dt="2023-10-12T14:06:56.043" v="1226" actId="1076"/>
        <pc:sldMkLst>
          <pc:docMk/>
          <pc:sldMk cId="1352991866" sldId="1492"/>
        </pc:sldMkLst>
        <pc:spChg chg="mod">
          <ac:chgData name="Dominik Buchegger" userId="7f2052fac20aabcc" providerId="LiveId" clId="{CF54C7B0-0C24-437E-AEC1-F774AC07306D}" dt="2023-10-12T14:05:17.191" v="1195" actId="113"/>
          <ac:spMkLst>
            <pc:docMk/>
            <pc:sldMk cId="1352991866" sldId="1492"/>
            <ac:spMk id="8" creationId="{E0EB712D-88FF-652F-AD07-EBE500FC8B72}"/>
          </ac:spMkLst>
        </pc:spChg>
        <pc:spChg chg="mod">
          <ac:chgData name="Dominik Buchegger" userId="7f2052fac20aabcc" providerId="LiveId" clId="{CF54C7B0-0C24-437E-AEC1-F774AC07306D}" dt="2023-10-12T13:58:17.511" v="680" actId="27636"/>
          <ac:spMkLst>
            <pc:docMk/>
            <pc:sldMk cId="1352991866" sldId="1492"/>
            <ac:spMk id="9" creationId="{59B53215-B6F1-5EC0-B1AC-A12EE89612BE}"/>
          </ac:spMkLst>
        </pc:spChg>
        <pc:picChg chg="add del mod modCrop">
          <ac:chgData name="Dominik Buchegger" userId="7f2052fac20aabcc" providerId="LiveId" clId="{CF54C7B0-0C24-437E-AEC1-F774AC07306D}" dt="2023-10-12T13:57:48.961" v="615" actId="478"/>
          <ac:picMkLst>
            <pc:docMk/>
            <pc:sldMk cId="1352991866" sldId="1492"/>
            <ac:picMk id="2" creationId="{CFCC4DC9-D956-15C5-8BA1-D6748698661D}"/>
          </ac:picMkLst>
        </pc:picChg>
        <pc:picChg chg="add mod">
          <ac:chgData name="Dominik Buchegger" userId="7f2052fac20aabcc" providerId="LiveId" clId="{CF54C7B0-0C24-437E-AEC1-F774AC07306D}" dt="2023-10-12T14:06:25.804" v="1216" actId="1076"/>
          <ac:picMkLst>
            <pc:docMk/>
            <pc:sldMk cId="1352991866" sldId="1492"/>
            <ac:picMk id="6" creationId="{E33B3B98-72F9-67E7-5250-036A489AF5DF}"/>
          </ac:picMkLst>
        </pc:picChg>
        <pc:picChg chg="add mod">
          <ac:chgData name="Dominik Buchegger" userId="7f2052fac20aabcc" providerId="LiveId" clId="{CF54C7B0-0C24-437E-AEC1-F774AC07306D}" dt="2023-10-12T14:06:56.043" v="1226" actId="1076"/>
          <ac:picMkLst>
            <pc:docMk/>
            <pc:sldMk cId="1352991866" sldId="1492"/>
            <ac:picMk id="7" creationId="{9C3A97D6-E3FB-4BE3-9E36-CFAA3B0AA1E4}"/>
          </ac:picMkLst>
        </pc:picChg>
      </pc:sldChg>
      <pc:sldChg chg="del">
        <pc:chgData name="Dominik Buchegger" userId="7f2052fac20aabcc" providerId="LiveId" clId="{CF54C7B0-0C24-437E-AEC1-F774AC07306D}" dt="2023-10-12T14:17:42.866" v="1399" actId="47"/>
        <pc:sldMkLst>
          <pc:docMk/>
          <pc:sldMk cId="4139329431" sldId="1497"/>
        </pc:sldMkLst>
      </pc:sldChg>
      <pc:sldChg chg="modSp mod">
        <pc:chgData name="Dominik Buchegger" userId="7f2052fac20aabcc" providerId="LiveId" clId="{CF54C7B0-0C24-437E-AEC1-F774AC07306D}" dt="2023-10-12T15:07:55.799" v="1487" actId="20577"/>
        <pc:sldMkLst>
          <pc:docMk/>
          <pc:sldMk cId="2299432622" sldId="1499"/>
        </pc:sldMkLst>
        <pc:spChg chg="mod">
          <ac:chgData name="Dominik Buchegger" userId="7f2052fac20aabcc" providerId="LiveId" clId="{CF54C7B0-0C24-437E-AEC1-F774AC07306D}" dt="2023-10-12T15:07:55.799" v="1487" actId="20577"/>
          <ac:spMkLst>
            <pc:docMk/>
            <pc:sldMk cId="2299432622" sldId="1499"/>
            <ac:spMk id="2" creationId="{76EA407A-0B5B-9B6F-C9D4-877962AE18C5}"/>
          </ac:spMkLst>
        </pc:spChg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915735580" sldId="1505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2592209610" sldId="1505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980541285" sldId="1510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2670845482" sldId="1510"/>
        </pc:sldMkLst>
      </pc:sldChg>
      <pc:sldChg chg="add del">
        <pc:chgData name="Dominik Buchegger" userId="7f2052fac20aabcc" providerId="LiveId" clId="{CF54C7B0-0C24-437E-AEC1-F774AC07306D}" dt="2023-10-12T14:55:23.615" v="1405" actId="2696"/>
        <pc:sldMkLst>
          <pc:docMk/>
          <pc:sldMk cId="1339548901" sldId="1511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1607863441" sldId="1511"/>
        </pc:sldMkLst>
      </pc:sldChg>
      <pc:sldChg chg="del">
        <pc:chgData name="Dominik Buchegger" userId="7f2052fac20aabcc" providerId="LiveId" clId="{CF54C7B0-0C24-437E-AEC1-F774AC07306D}" dt="2023-10-12T14:17:47.503" v="1400" actId="47"/>
        <pc:sldMkLst>
          <pc:docMk/>
          <pc:sldMk cId="3597235564" sldId="1513"/>
        </pc:sldMkLst>
      </pc:sldChg>
      <pc:sldChg chg="del">
        <pc:chgData name="Dominik Buchegger" userId="7f2052fac20aabcc" providerId="LiveId" clId="{CF54C7B0-0C24-437E-AEC1-F774AC07306D}" dt="2023-10-12T14:17:51.772" v="1401" actId="47"/>
        <pc:sldMkLst>
          <pc:docMk/>
          <pc:sldMk cId="3000516781" sldId="1514"/>
        </pc:sldMkLst>
      </pc:sldChg>
      <pc:sldChg chg="del">
        <pc:chgData name="Dominik Buchegger" userId="7f2052fac20aabcc" providerId="LiveId" clId="{CF54C7B0-0C24-437E-AEC1-F774AC07306D}" dt="2023-10-12T14:17:56.761" v="1402" actId="47"/>
        <pc:sldMkLst>
          <pc:docMk/>
          <pc:sldMk cId="2438507487" sldId="1515"/>
        </pc:sldMkLst>
      </pc:sldChg>
      <pc:sldChg chg="del">
        <pc:chgData name="Dominik Buchegger" userId="7f2052fac20aabcc" providerId="LiveId" clId="{CF54C7B0-0C24-437E-AEC1-F774AC07306D}" dt="2023-10-12T14:18:00.323" v="1403" actId="47"/>
        <pc:sldMkLst>
          <pc:docMk/>
          <pc:sldMk cId="955680592" sldId="1516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1996384533" sldId="1517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4018418723" sldId="1517"/>
        </pc:sldMkLst>
      </pc:sldChg>
      <pc:sldChg chg="modSp add mod">
        <pc:chgData name="Dominik Buchegger" userId="7f2052fac20aabcc" providerId="LiveId" clId="{CF54C7B0-0C24-437E-AEC1-F774AC07306D}" dt="2023-10-12T14:56:01.877" v="1433" actId="6549"/>
        <pc:sldMkLst>
          <pc:docMk/>
          <pc:sldMk cId="634550927" sldId="1518"/>
        </pc:sldMkLst>
        <pc:spChg chg="mod">
          <ac:chgData name="Dominik Buchegger" userId="7f2052fac20aabcc" providerId="LiveId" clId="{CF54C7B0-0C24-437E-AEC1-F774AC07306D}" dt="2023-10-12T14:56:01.877" v="1433" actId="6549"/>
          <ac:spMkLst>
            <pc:docMk/>
            <pc:sldMk cId="634550927" sldId="1518"/>
            <ac:spMk id="3" creationId="{C1C055D0-88FC-814E-85AF-F5DD6D247310}"/>
          </ac:spMkLst>
        </pc:spChg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3712458257" sldId="1518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189060386" sldId="1519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3552734484" sldId="1519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1826951064" sldId="1520"/>
        </pc:sldMkLst>
      </pc:sldChg>
      <pc:sldChg chg="add del">
        <pc:chgData name="Dominik Buchegger" userId="7f2052fac20aabcc" providerId="LiveId" clId="{CF54C7B0-0C24-437E-AEC1-F774AC07306D}" dt="2023-10-12T14:59:16.341" v="1444" actId="47"/>
        <pc:sldMkLst>
          <pc:docMk/>
          <pc:sldMk cId="3716264108" sldId="1520"/>
        </pc:sldMkLst>
      </pc:sldChg>
      <pc:sldChg chg="del">
        <pc:chgData name="Dominik Buchegger" userId="7f2052fac20aabcc" providerId="LiveId" clId="{CF54C7B0-0C24-437E-AEC1-F774AC07306D}" dt="2023-10-12T15:07:48.303" v="1476" actId="47"/>
        <pc:sldMkLst>
          <pc:docMk/>
          <pc:sldMk cId="1594977143" sldId="1521"/>
        </pc:sldMkLst>
      </pc:sldChg>
      <pc:sldChg chg="modSp mod">
        <pc:chgData name="Dominik Buchegger" userId="7f2052fac20aabcc" providerId="LiveId" clId="{CF54C7B0-0C24-437E-AEC1-F774AC07306D}" dt="2023-10-12T20:53:42.811" v="3159" actId="732"/>
        <pc:sldMkLst>
          <pc:docMk/>
          <pc:sldMk cId="1511887388" sldId="1522"/>
        </pc:sldMkLst>
        <pc:picChg chg="mod modCrop">
          <ac:chgData name="Dominik Buchegger" userId="7f2052fac20aabcc" providerId="LiveId" clId="{CF54C7B0-0C24-437E-AEC1-F774AC07306D}" dt="2023-10-12T20:53:42.811" v="3159" actId="732"/>
          <ac:picMkLst>
            <pc:docMk/>
            <pc:sldMk cId="1511887388" sldId="1522"/>
            <ac:picMk id="6" creationId="{4928883B-7A6B-EB4E-E869-83ED301FDF3D}"/>
          </ac:picMkLst>
        </pc:picChg>
      </pc:sldChg>
      <pc:sldChg chg="addSp delSp modSp mod">
        <pc:chgData name="Dominik Buchegger" userId="7f2052fac20aabcc" providerId="LiveId" clId="{CF54C7B0-0C24-437E-AEC1-F774AC07306D}" dt="2023-10-12T20:45:43.253" v="3075" actId="20577"/>
        <pc:sldMkLst>
          <pc:docMk/>
          <pc:sldMk cId="3803677821" sldId="1523"/>
        </pc:sldMkLst>
        <pc:spChg chg="mod">
          <ac:chgData name="Dominik Buchegger" userId="7f2052fac20aabcc" providerId="LiveId" clId="{CF54C7B0-0C24-437E-AEC1-F774AC07306D}" dt="2023-10-12T20:25:40.944" v="2662" actId="20577"/>
          <ac:spMkLst>
            <pc:docMk/>
            <pc:sldMk cId="3803677821" sldId="1523"/>
            <ac:spMk id="2" creationId="{8BF1B61B-0C25-A347-8E82-9E36B55C7C82}"/>
          </ac:spMkLst>
        </pc:spChg>
        <pc:spChg chg="del">
          <ac:chgData name="Dominik Buchegger" userId="7f2052fac20aabcc" providerId="LiveId" clId="{CF54C7B0-0C24-437E-AEC1-F774AC07306D}" dt="2023-10-12T19:58:24.440" v="1611" actId="22"/>
          <ac:spMkLst>
            <pc:docMk/>
            <pc:sldMk cId="3803677821" sldId="1523"/>
            <ac:spMk id="3" creationId="{C1C055D0-88FC-814E-85AF-F5DD6D247310}"/>
          </ac:spMkLst>
        </pc:spChg>
        <pc:spChg chg="add mod">
          <ac:chgData name="Dominik Buchegger" userId="7f2052fac20aabcc" providerId="LiveId" clId="{CF54C7B0-0C24-437E-AEC1-F774AC07306D}" dt="2023-10-12T19:58:50.160" v="1617" actId="1582"/>
          <ac:spMkLst>
            <pc:docMk/>
            <pc:sldMk cId="3803677821" sldId="1523"/>
            <ac:spMk id="10" creationId="{ACBC3E87-0B18-EA55-C240-314963CCADDB}"/>
          </ac:spMkLst>
        </pc:spChg>
        <pc:spChg chg="mod">
          <ac:chgData name="Dominik Buchegger" userId="7f2052fac20aabcc" providerId="LiveId" clId="{CF54C7B0-0C24-437E-AEC1-F774AC07306D}" dt="2023-10-12T20:45:43.253" v="3075" actId="20577"/>
          <ac:spMkLst>
            <pc:docMk/>
            <pc:sldMk cId="3803677821" sldId="1523"/>
            <ac:spMk id="22" creationId="{265CBB9D-C18A-80C2-472E-1C084050581B}"/>
          </ac:spMkLst>
        </pc:spChg>
        <pc:spChg chg="del">
          <ac:chgData name="Dominik Buchegger" userId="7f2052fac20aabcc" providerId="LiveId" clId="{CF54C7B0-0C24-437E-AEC1-F774AC07306D}" dt="2023-10-12T19:57:26.038" v="1492" actId="478"/>
          <ac:spMkLst>
            <pc:docMk/>
            <pc:sldMk cId="3803677821" sldId="1523"/>
            <ac:spMk id="23" creationId="{41BB31FA-91CC-8643-CF09-1B1EF0ABF951}"/>
          </ac:spMkLst>
        </pc:spChg>
        <pc:spChg chg="del">
          <ac:chgData name="Dominik Buchegger" userId="7f2052fac20aabcc" providerId="LiveId" clId="{CF54C7B0-0C24-437E-AEC1-F774AC07306D}" dt="2023-10-12T19:57:32.864" v="1497" actId="478"/>
          <ac:spMkLst>
            <pc:docMk/>
            <pc:sldMk cId="3803677821" sldId="1523"/>
            <ac:spMk id="24" creationId="{1845E3AE-3291-F27A-23B6-796F6AE5E872}"/>
          </ac:spMkLst>
        </pc:spChg>
        <pc:spChg chg="del">
          <ac:chgData name="Dominik Buchegger" userId="7f2052fac20aabcc" providerId="LiveId" clId="{CF54C7B0-0C24-437E-AEC1-F774AC07306D}" dt="2023-10-12T19:57:27.902" v="1493" actId="478"/>
          <ac:spMkLst>
            <pc:docMk/>
            <pc:sldMk cId="3803677821" sldId="1523"/>
            <ac:spMk id="26" creationId="{EF7290A0-10B8-0D64-7C3A-01203686CC6C}"/>
          </ac:spMkLst>
        </pc:spChg>
        <pc:spChg chg="del">
          <ac:chgData name="Dominik Buchegger" userId="7f2052fac20aabcc" providerId="LiveId" clId="{CF54C7B0-0C24-437E-AEC1-F774AC07306D}" dt="2023-10-12T19:57:34.732" v="1498" actId="478"/>
          <ac:spMkLst>
            <pc:docMk/>
            <pc:sldMk cId="3803677821" sldId="1523"/>
            <ac:spMk id="27" creationId="{E7ACF98A-E3A3-56D0-BB3B-5AA929793DC3}"/>
          </ac:spMkLst>
        </pc:spChg>
        <pc:picChg chg="add del">
          <ac:chgData name="Dominik Buchegger" userId="7f2052fac20aabcc" providerId="LiveId" clId="{CF54C7B0-0C24-437E-AEC1-F774AC07306D}" dt="2023-10-12T19:57:23.126" v="1491" actId="478"/>
          <ac:picMkLst>
            <pc:docMk/>
            <pc:sldMk cId="3803677821" sldId="1523"/>
            <ac:picMk id="6" creationId="{A8C4E886-6E70-42E0-5F2D-18B99ADCB917}"/>
          </ac:picMkLst>
        </pc:picChg>
        <pc:picChg chg="del">
          <ac:chgData name="Dominik Buchegger" userId="7f2052fac20aabcc" providerId="LiveId" clId="{CF54C7B0-0C24-437E-AEC1-F774AC07306D}" dt="2023-10-12T19:57:35.921" v="1499" actId="478"/>
          <ac:picMkLst>
            <pc:docMk/>
            <pc:sldMk cId="3803677821" sldId="1523"/>
            <ac:picMk id="8" creationId="{621922C8-84F5-56D1-59FC-9EA2E466D5E3}"/>
          </ac:picMkLst>
        </pc:picChg>
        <pc:picChg chg="add mod ord">
          <ac:chgData name="Dominik Buchegger" userId="7f2052fac20aabcc" providerId="LiveId" clId="{CF54C7B0-0C24-437E-AEC1-F774AC07306D}" dt="2023-10-12T19:58:27.248" v="1612" actId="1076"/>
          <ac:picMkLst>
            <pc:docMk/>
            <pc:sldMk cId="3803677821" sldId="1523"/>
            <ac:picMk id="9" creationId="{5694CFC4-3AA4-6736-BC2B-DF504FA3D57D}"/>
          </ac:picMkLst>
        </pc:picChg>
        <pc:picChg chg="del">
          <ac:chgData name="Dominik Buchegger" userId="7f2052fac20aabcc" providerId="LiveId" clId="{CF54C7B0-0C24-437E-AEC1-F774AC07306D}" dt="2023-10-12T19:57:29.295" v="1494" actId="478"/>
          <ac:picMkLst>
            <pc:docMk/>
            <pc:sldMk cId="3803677821" sldId="1523"/>
            <ac:picMk id="15" creationId="{6BF5BEF4-D229-9356-BFB8-375496E1FAD8}"/>
          </ac:picMkLst>
        </pc:picChg>
        <pc:picChg chg="del">
          <ac:chgData name="Dominik Buchegger" userId="7f2052fac20aabcc" providerId="LiveId" clId="{CF54C7B0-0C24-437E-AEC1-F774AC07306D}" dt="2023-10-12T19:57:30.599" v="1495" actId="478"/>
          <ac:picMkLst>
            <pc:docMk/>
            <pc:sldMk cId="3803677821" sldId="1523"/>
            <ac:picMk id="17" creationId="{F739DC3F-9E26-D3EE-859A-6D8F2A898B75}"/>
          </ac:picMkLst>
        </pc:picChg>
        <pc:picChg chg="del">
          <ac:chgData name="Dominik Buchegger" userId="7f2052fac20aabcc" providerId="LiveId" clId="{CF54C7B0-0C24-437E-AEC1-F774AC07306D}" dt="2023-10-12T19:57:31.829" v="1496" actId="478"/>
          <ac:picMkLst>
            <pc:docMk/>
            <pc:sldMk cId="3803677821" sldId="1523"/>
            <ac:picMk id="21" creationId="{6EDD7310-B0AA-D2AE-012C-90528F7CAA9C}"/>
          </ac:picMkLst>
        </pc:picChg>
      </pc:sldChg>
      <pc:sldChg chg="del">
        <pc:chgData name="Dominik Buchegger" userId="7f2052fac20aabcc" providerId="LiveId" clId="{CF54C7B0-0C24-437E-AEC1-F774AC07306D}" dt="2023-10-12T14:55:33.675" v="1407" actId="47"/>
        <pc:sldMkLst>
          <pc:docMk/>
          <pc:sldMk cId="3536400902" sldId="1524"/>
        </pc:sldMkLst>
      </pc:sldChg>
      <pc:sldChg chg="del ord">
        <pc:chgData name="Dominik Buchegger" userId="7f2052fac20aabcc" providerId="LiveId" clId="{CF54C7B0-0C24-437E-AEC1-F774AC07306D}" dt="2023-10-12T14:56:13.645" v="1434" actId="47"/>
        <pc:sldMkLst>
          <pc:docMk/>
          <pc:sldMk cId="3096464946" sldId="1525"/>
        </pc:sldMkLst>
      </pc:sldChg>
      <pc:sldChg chg="del ord">
        <pc:chgData name="Dominik Buchegger" userId="7f2052fac20aabcc" providerId="LiveId" clId="{CF54C7B0-0C24-437E-AEC1-F774AC07306D}" dt="2023-10-12T14:56:31.318" v="1436" actId="47"/>
        <pc:sldMkLst>
          <pc:docMk/>
          <pc:sldMk cId="4065876868" sldId="1526"/>
        </pc:sldMkLst>
      </pc:sldChg>
      <pc:sldChg chg="del ord">
        <pc:chgData name="Dominik Buchegger" userId="7f2052fac20aabcc" providerId="LiveId" clId="{CF54C7B0-0C24-437E-AEC1-F774AC07306D}" dt="2023-10-12T14:56:27.413" v="1435" actId="47"/>
        <pc:sldMkLst>
          <pc:docMk/>
          <pc:sldMk cId="1313025417" sldId="1527"/>
        </pc:sldMkLst>
      </pc:sldChg>
      <pc:sldChg chg="modSp del mod ord">
        <pc:chgData name="Dominik Buchegger" userId="7f2052fac20aabcc" providerId="LiveId" clId="{CF54C7B0-0C24-437E-AEC1-F774AC07306D}" dt="2023-10-12T21:17:55.516" v="4780" actId="47"/>
        <pc:sldMkLst>
          <pc:docMk/>
          <pc:sldMk cId="2052967129" sldId="1528"/>
        </pc:sldMkLst>
        <pc:spChg chg="mod">
          <ac:chgData name="Dominik Buchegger" userId="7f2052fac20aabcc" providerId="LiveId" clId="{CF54C7B0-0C24-437E-AEC1-F774AC07306D}" dt="2023-10-12T15:07:32.649" v="1467" actId="20577"/>
          <ac:spMkLst>
            <pc:docMk/>
            <pc:sldMk cId="2052967129" sldId="1528"/>
            <ac:spMk id="12" creationId="{48147645-F5CB-BEB3-601A-C12CBC4FBBAE}"/>
          </ac:spMkLst>
        </pc:spChg>
        <pc:spChg chg="mod">
          <ac:chgData name="Dominik Buchegger" userId="7f2052fac20aabcc" providerId="LiveId" clId="{CF54C7B0-0C24-437E-AEC1-F774AC07306D}" dt="2023-10-12T15:07:35.485" v="1473" actId="20577"/>
          <ac:spMkLst>
            <pc:docMk/>
            <pc:sldMk cId="2052967129" sldId="1528"/>
            <ac:spMk id="14" creationId="{F26F8BED-3A62-F6B4-30DB-E1F7951ADF69}"/>
          </ac:spMkLst>
        </pc:spChg>
        <pc:picChg chg="mod">
          <ac:chgData name="Dominik Buchegger" userId="7f2052fac20aabcc" providerId="LiveId" clId="{CF54C7B0-0C24-437E-AEC1-F774AC07306D}" dt="2023-10-12T15:07:40.997" v="1475" actId="1076"/>
          <ac:picMkLst>
            <pc:docMk/>
            <pc:sldMk cId="2052967129" sldId="1528"/>
            <ac:picMk id="53" creationId="{20D89EF5-3025-8C43-A2BB-A16278018218}"/>
          </ac:picMkLst>
        </pc:picChg>
        <pc:picChg chg="mod">
          <ac:chgData name="Dominik Buchegger" userId="7f2052fac20aabcc" providerId="LiveId" clId="{CF54C7B0-0C24-437E-AEC1-F774AC07306D}" dt="2023-10-12T15:07:38.446" v="1474" actId="1076"/>
          <ac:picMkLst>
            <pc:docMk/>
            <pc:sldMk cId="2052967129" sldId="1528"/>
            <ac:picMk id="54" creationId="{CF60F3CE-D635-A74A-820B-BB002632490A}"/>
          </ac:picMkLst>
        </pc:picChg>
      </pc:sldChg>
      <pc:sldChg chg="del ord">
        <pc:chgData name="Dominik Buchegger" userId="7f2052fac20aabcc" providerId="LiveId" clId="{CF54C7B0-0C24-437E-AEC1-F774AC07306D}" dt="2023-10-12T14:58:58.142" v="1443" actId="47"/>
        <pc:sldMkLst>
          <pc:docMk/>
          <pc:sldMk cId="3714999323" sldId="1529"/>
        </pc:sldMkLst>
      </pc:sldChg>
      <pc:sldChg chg="addSp delSp modSp new del mod ord">
        <pc:chgData name="Dominik Buchegger" userId="7f2052fac20aabcc" providerId="LiveId" clId="{CF54C7B0-0C24-437E-AEC1-F774AC07306D}" dt="2023-10-12T14:06:28.214" v="1217" actId="47"/>
        <pc:sldMkLst>
          <pc:docMk/>
          <pc:sldMk cId="1044262028" sldId="1531"/>
        </pc:sldMkLst>
        <pc:picChg chg="add del mod modCrop">
          <ac:chgData name="Dominik Buchegger" userId="7f2052fac20aabcc" providerId="LiveId" clId="{CF54C7B0-0C24-437E-AEC1-F774AC07306D}" dt="2023-10-12T14:06:21.641" v="1214" actId="21"/>
          <ac:picMkLst>
            <pc:docMk/>
            <pc:sldMk cId="1044262028" sldId="1531"/>
            <ac:picMk id="6" creationId="{F69A6A2D-9840-4039-64A9-C9D4266F662C}"/>
          </ac:picMkLst>
        </pc:picChg>
      </pc:sldChg>
      <pc:sldChg chg="addSp delSp modSp new del mod ord">
        <pc:chgData name="Dominik Buchegger" userId="7f2052fac20aabcc" providerId="LiveId" clId="{CF54C7B0-0C24-437E-AEC1-F774AC07306D}" dt="2023-10-12T14:06:58.737" v="1227" actId="47"/>
        <pc:sldMkLst>
          <pc:docMk/>
          <pc:sldMk cId="1439519950" sldId="1532"/>
        </pc:sldMkLst>
        <pc:picChg chg="add del mod modCrop">
          <ac:chgData name="Dominik Buchegger" userId="7f2052fac20aabcc" providerId="LiveId" clId="{CF54C7B0-0C24-437E-AEC1-F774AC07306D}" dt="2023-10-12T14:06:50.812" v="1224" actId="21"/>
          <ac:picMkLst>
            <pc:docMk/>
            <pc:sldMk cId="1439519950" sldId="1532"/>
            <ac:picMk id="6" creationId="{5588926F-7507-4F39-B062-E2BACEA503BA}"/>
          </ac:picMkLst>
        </pc:picChg>
      </pc:sldChg>
      <pc:sldChg chg="addSp delSp modSp new del mod ord">
        <pc:chgData name="Dominik Buchegger" userId="7f2052fac20aabcc" providerId="LiveId" clId="{CF54C7B0-0C24-437E-AEC1-F774AC07306D}" dt="2023-10-12T14:08:48.222" v="1276" actId="47"/>
        <pc:sldMkLst>
          <pc:docMk/>
          <pc:sldMk cId="2154694557" sldId="1533"/>
        </pc:sldMkLst>
        <pc:picChg chg="add del mod modCrop">
          <ac:chgData name="Dominik Buchegger" userId="7f2052fac20aabcc" providerId="LiveId" clId="{CF54C7B0-0C24-437E-AEC1-F774AC07306D}" dt="2023-10-12T14:08:46.786" v="1275" actId="21"/>
          <ac:picMkLst>
            <pc:docMk/>
            <pc:sldMk cId="2154694557" sldId="1533"/>
            <ac:picMk id="6" creationId="{AE40FDBB-0350-9895-D215-326846B93F99}"/>
          </ac:picMkLst>
        </pc:picChg>
      </pc:sldChg>
      <pc:sldChg chg="addSp delSp modSp new del mod ord">
        <pc:chgData name="Dominik Buchegger" userId="7f2052fac20aabcc" providerId="LiveId" clId="{CF54C7B0-0C24-437E-AEC1-F774AC07306D}" dt="2023-10-12T14:09:55.271" v="1291" actId="47"/>
        <pc:sldMkLst>
          <pc:docMk/>
          <pc:sldMk cId="3979582502" sldId="1534"/>
        </pc:sldMkLst>
        <pc:picChg chg="add del mod modCrop">
          <ac:chgData name="Dominik Buchegger" userId="7f2052fac20aabcc" providerId="LiveId" clId="{CF54C7B0-0C24-437E-AEC1-F774AC07306D}" dt="2023-10-12T14:09:53.569" v="1290" actId="21"/>
          <ac:picMkLst>
            <pc:docMk/>
            <pc:sldMk cId="3979582502" sldId="1534"/>
            <ac:picMk id="6" creationId="{664D9CD0-285A-A1A0-6CCF-DB786970D5F2}"/>
          </ac:picMkLst>
        </pc:picChg>
      </pc:sldChg>
      <pc:sldChg chg="new del">
        <pc:chgData name="Dominik Buchegger" userId="7f2052fac20aabcc" providerId="LiveId" clId="{CF54C7B0-0C24-437E-AEC1-F774AC07306D}" dt="2023-10-12T14:18:03.009" v="1404" actId="47"/>
        <pc:sldMkLst>
          <pc:docMk/>
          <pc:sldMk cId="1938852199" sldId="1535"/>
        </pc:sldMkLst>
      </pc:sldChg>
      <pc:sldChg chg="addSp delSp modSp new del mod">
        <pc:chgData name="Dominik Buchegger" userId="7f2052fac20aabcc" providerId="LiveId" clId="{CF54C7B0-0C24-437E-AEC1-F774AC07306D}" dt="2023-10-12T13:58:20.700" v="681" actId="47"/>
        <pc:sldMkLst>
          <pc:docMk/>
          <pc:sldMk cId="4012032942" sldId="1536"/>
        </pc:sldMkLst>
        <pc:picChg chg="add del mod modCrop">
          <ac:chgData name="Dominik Buchegger" userId="7f2052fac20aabcc" providerId="LiveId" clId="{CF54C7B0-0C24-437E-AEC1-F774AC07306D}" dt="2023-10-12T13:52:08.860" v="43" actId="21"/>
          <ac:picMkLst>
            <pc:docMk/>
            <pc:sldMk cId="4012032942" sldId="1536"/>
            <ac:picMk id="6" creationId="{0AD1BC22-8479-D218-B732-E7DA2ED69854}"/>
          </ac:picMkLst>
        </pc:picChg>
      </pc:sldChg>
      <pc:sldChg chg="addSp new del mod ord">
        <pc:chgData name="Dominik Buchegger" userId="7f2052fac20aabcc" providerId="LiveId" clId="{CF54C7B0-0C24-437E-AEC1-F774AC07306D}" dt="2023-10-12T14:01:33.676" v="1067" actId="47"/>
        <pc:sldMkLst>
          <pc:docMk/>
          <pc:sldMk cId="1707172201" sldId="1537"/>
        </pc:sldMkLst>
        <pc:picChg chg="add">
          <ac:chgData name="Dominik Buchegger" userId="7f2052fac20aabcc" providerId="LiveId" clId="{CF54C7B0-0C24-437E-AEC1-F774AC07306D}" dt="2023-10-12T13:50:54.022" v="18" actId="22"/>
          <ac:picMkLst>
            <pc:docMk/>
            <pc:sldMk cId="1707172201" sldId="1537"/>
            <ac:picMk id="6" creationId="{28183599-7203-2154-823E-0B811EC5F73B}"/>
          </ac:picMkLst>
        </pc:picChg>
      </pc:sldChg>
      <pc:sldChg chg="addSp delSp new del mod">
        <pc:chgData name="Dominik Buchegger" userId="7f2052fac20aabcc" providerId="LiveId" clId="{CF54C7B0-0C24-437E-AEC1-F774AC07306D}" dt="2023-10-12T14:02:33.559" v="1099" actId="47"/>
        <pc:sldMkLst>
          <pc:docMk/>
          <pc:sldMk cId="32828333" sldId="1538"/>
        </pc:sldMkLst>
        <pc:picChg chg="add del">
          <ac:chgData name="Dominik Buchegger" userId="7f2052fac20aabcc" providerId="LiveId" clId="{CF54C7B0-0C24-437E-AEC1-F774AC07306D}" dt="2023-10-12T14:01:55.629" v="1088" actId="21"/>
          <ac:picMkLst>
            <pc:docMk/>
            <pc:sldMk cId="32828333" sldId="1538"/>
            <ac:picMk id="6" creationId="{28BF5246-B155-931F-6A0A-6435DEFDAC59}"/>
          </ac:picMkLst>
        </pc:picChg>
      </pc:sldChg>
      <pc:sldChg chg="addSp delSp new del mod">
        <pc:chgData name="Dominik Buchegger" userId="7f2052fac20aabcc" providerId="LiveId" clId="{CF54C7B0-0C24-437E-AEC1-F774AC07306D}" dt="2023-10-12T14:03:39.264" v="1151" actId="47"/>
        <pc:sldMkLst>
          <pc:docMk/>
          <pc:sldMk cId="1566984403" sldId="1539"/>
        </pc:sldMkLst>
        <pc:picChg chg="add del">
          <ac:chgData name="Dominik Buchegger" userId="7f2052fac20aabcc" providerId="LiveId" clId="{CF54C7B0-0C24-437E-AEC1-F774AC07306D}" dt="2023-10-12T14:02:58.938" v="1143" actId="21"/>
          <ac:picMkLst>
            <pc:docMk/>
            <pc:sldMk cId="1566984403" sldId="1539"/>
            <ac:picMk id="6" creationId="{6F85F12C-E534-6945-D7B6-5F9BD947D0B8}"/>
          </ac:picMkLst>
        </pc:picChg>
      </pc:sldChg>
      <pc:sldChg chg="addSp new del mod">
        <pc:chgData name="Dominik Buchegger" userId="7f2052fac20aabcc" providerId="LiveId" clId="{CF54C7B0-0C24-437E-AEC1-F774AC07306D}" dt="2023-10-12T14:03:48.777" v="1152" actId="47"/>
        <pc:sldMkLst>
          <pc:docMk/>
          <pc:sldMk cId="3420130846" sldId="1540"/>
        </pc:sldMkLst>
        <pc:picChg chg="add">
          <ac:chgData name="Dominik Buchegger" userId="7f2052fac20aabcc" providerId="LiveId" clId="{CF54C7B0-0C24-437E-AEC1-F774AC07306D}" dt="2023-10-12T13:51:43.488" v="23" actId="22"/>
          <ac:picMkLst>
            <pc:docMk/>
            <pc:sldMk cId="3420130846" sldId="1540"/>
            <ac:picMk id="6" creationId="{BB917E13-9DBF-5B02-90EF-401BDBFA229C}"/>
          </ac:picMkLst>
        </pc:picChg>
      </pc:sldChg>
      <pc:sldChg chg="new del">
        <pc:chgData name="Dominik Buchegger" userId="7f2052fac20aabcc" providerId="LiveId" clId="{CF54C7B0-0C24-437E-AEC1-F774AC07306D}" dt="2023-10-12T14:05:00.180" v="1183" actId="47"/>
        <pc:sldMkLst>
          <pc:docMk/>
          <pc:sldMk cId="3189590342" sldId="1541"/>
        </pc:sldMkLst>
      </pc:sldChg>
      <pc:sldChg chg="addSp delSp modSp add mod">
        <pc:chgData name="Dominik Buchegger" userId="7f2052fac20aabcc" providerId="LiveId" clId="{CF54C7B0-0C24-437E-AEC1-F774AC07306D}" dt="2023-10-12T14:17:27.002" v="1398" actId="20577"/>
        <pc:sldMkLst>
          <pc:docMk/>
          <pc:sldMk cId="1704093696" sldId="1542"/>
        </pc:sldMkLst>
        <pc:spChg chg="mod">
          <ac:chgData name="Dominik Buchegger" userId="7f2052fac20aabcc" providerId="LiveId" clId="{CF54C7B0-0C24-437E-AEC1-F774AC07306D}" dt="2023-10-12T14:17:27.002" v="1398" actId="20577"/>
          <ac:spMkLst>
            <pc:docMk/>
            <pc:sldMk cId="1704093696" sldId="1542"/>
            <ac:spMk id="5" creationId="{60B48172-F822-F4B2-BC65-750C4214462F}"/>
          </ac:spMkLst>
        </pc:spChg>
        <pc:spChg chg="mod">
          <ac:chgData name="Dominik Buchegger" userId="7f2052fac20aabcc" providerId="LiveId" clId="{CF54C7B0-0C24-437E-AEC1-F774AC07306D}" dt="2023-10-12T14:05:23.060" v="1197" actId="113"/>
          <ac:spMkLst>
            <pc:docMk/>
            <pc:sldMk cId="1704093696" sldId="1542"/>
            <ac:spMk id="8" creationId="{E0EB712D-88FF-652F-AD07-EBE500FC8B72}"/>
          </ac:spMkLst>
        </pc:spChg>
        <pc:spChg chg="del mod">
          <ac:chgData name="Dominik Buchegger" userId="7f2052fac20aabcc" providerId="LiveId" clId="{CF54C7B0-0C24-437E-AEC1-F774AC07306D}" dt="2023-10-12T13:59:01.474" v="715" actId="478"/>
          <ac:spMkLst>
            <pc:docMk/>
            <pc:sldMk cId="1704093696" sldId="1542"/>
            <ac:spMk id="9" creationId="{59B53215-B6F1-5EC0-B1AC-A12EE89612BE}"/>
          </ac:spMkLst>
        </pc:spChg>
        <pc:picChg chg="add mod">
          <ac:chgData name="Dominik Buchegger" userId="7f2052fac20aabcc" providerId="LiveId" clId="{CF54C7B0-0C24-437E-AEC1-F774AC07306D}" dt="2023-10-12T14:11:49.132" v="1301" actId="1076"/>
          <ac:picMkLst>
            <pc:docMk/>
            <pc:sldMk cId="1704093696" sldId="1542"/>
            <ac:picMk id="6" creationId="{BFA62F9A-6466-2575-4334-A40384DB286A}"/>
          </ac:picMkLst>
        </pc:picChg>
      </pc:sldChg>
      <pc:sldChg chg="addSp delSp modSp add mod">
        <pc:chgData name="Dominik Buchegger" userId="7f2052fac20aabcc" providerId="LiveId" clId="{CF54C7B0-0C24-437E-AEC1-F774AC07306D}" dt="2023-10-12T14:05:50.098" v="1205" actId="478"/>
        <pc:sldMkLst>
          <pc:docMk/>
          <pc:sldMk cId="985433449" sldId="1543"/>
        </pc:sldMkLst>
        <pc:spChg chg="del mod">
          <ac:chgData name="Dominik Buchegger" userId="7f2052fac20aabcc" providerId="LiveId" clId="{CF54C7B0-0C24-437E-AEC1-F774AC07306D}" dt="2023-10-12T14:02:24.023" v="1097" actId="478"/>
          <ac:spMkLst>
            <pc:docMk/>
            <pc:sldMk cId="985433449" sldId="1543"/>
            <ac:spMk id="5" creationId="{60B48172-F822-F4B2-BC65-750C4214462F}"/>
          </ac:spMkLst>
        </pc:spChg>
        <pc:spChg chg="mod">
          <ac:chgData name="Dominik Buchegger" userId="7f2052fac20aabcc" providerId="LiveId" clId="{CF54C7B0-0C24-437E-AEC1-F774AC07306D}" dt="2023-10-12T14:05:29.348" v="1199" actId="113"/>
          <ac:spMkLst>
            <pc:docMk/>
            <pc:sldMk cId="985433449" sldId="1543"/>
            <ac:spMk id="8" creationId="{E0EB712D-88FF-652F-AD07-EBE500FC8B72}"/>
          </ac:spMkLst>
        </pc:spChg>
        <pc:picChg chg="add mod modCrop">
          <ac:chgData name="Dominik Buchegger" userId="7f2052fac20aabcc" providerId="LiveId" clId="{CF54C7B0-0C24-437E-AEC1-F774AC07306D}" dt="2023-10-12T14:03:26.044" v="1150" actId="1076"/>
          <ac:picMkLst>
            <pc:docMk/>
            <pc:sldMk cId="985433449" sldId="1543"/>
            <ac:picMk id="2" creationId="{369E50E5-377C-4704-B202-B3FB68BEEB33}"/>
          </ac:picMkLst>
        </pc:picChg>
        <pc:picChg chg="add del mod modCrop">
          <ac:chgData name="Dominik Buchegger" userId="7f2052fac20aabcc" providerId="LiveId" clId="{CF54C7B0-0C24-437E-AEC1-F774AC07306D}" dt="2023-10-12T14:05:50.098" v="1205" actId="478"/>
          <ac:picMkLst>
            <pc:docMk/>
            <pc:sldMk cId="985433449" sldId="1543"/>
            <ac:picMk id="6" creationId="{4D099232-32ED-0D5E-22E4-D3871A931774}"/>
          </ac:picMkLst>
        </pc:picChg>
      </pc:sldChg>
      <pc:sldChg chg="add del">
        <pc:chgData name="Dominik Buchegger" userId="7f2052fac20aabcc" providerId="LiveId" clId="{CF54C7B0-0C24-437E-AEC1-F774AC07306D}" dt="2023-10-12T21:17:38.958" v="4779" actId="47"/>
        <pc:sldMkLst>
          <pc:docMk/>
          <pc:sldMk cId="818342907" sldId="1544"/>
        </pc:sldMkLst>
      </pc:sldChg>
      <pc:sldChg chg="add del">
        <pc:chgData name="Dominik Buchegger" userId="7f2052fac20aabcc" providerId="LiveId" clId="{CF54C7B0-0C24-437E-AEC1-F774AC07306D}" dt="2023-10-12T14:55:23.615" v="1405" actId="2696"/>
        <pc:sldMkLst>
          <pc:docMk/>
          <pc:sldMk cId="3713946609" sldId="1544"/>
        </pc:sldMkLst>
      </pc:sldChg>
      <pc:sldChg chg="addSp delSp modSp add mod">
        <pc:chgData name="Dominik Buchegger" userId="7f2052fac20aabcc" providerId="LiveId" clId="{CF54C7B0-0C24-437E-AEC1-F774AC07306D}" dt="2023-10-12T14:10:11.209" v="1297" actId="1076"/>
        <pc:sldMkLst>
          <pc:docMk/>
          <pc:sldMk cId="3995171968" sldId="1545"/>
        </pc:sldMkLst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7" creationId="{50AC6C20-26BF-C028-FA18-0448E9176DC2}"/>
          </ac:spMkLst>
        </pc:spChg>
        <pc:spChg chg="mod">
          <ac:chgData name="Dominik Buchegger" userId="7f2052fac20aabcc" providerId="LiveId" clId="{CF54C7B0-0C24-437E-AEC1-F774AC07306D}" dt="2023-10-12T14:05:48.173" v="1204" actId="113"/>
          <ac:spMkLst>
            <pc:docMk/>
            <pc:sldMk cId="3995171968" sldId="1545"/>
            <ac:spMk id="8" creationId="{E0EB712D-88FF-652F-AD07-EBE500FC8B72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9" creationId="{E576C983-BBBB-75BE-5AC7-E5BC1867B8AB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10" creationId="{B5C183D4-ACA6-D681-DAE0-FA37BA607920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11" creationId="{67679C78-AF90-1820-2FC7-6C9D4BB1F3B2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12" creationId="{4ECF72F6-7829-15FC-96CA-944D3EE4C5C4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13" creationId="{E2953CEB-9E62-EA0C-2DA4-C98BE34F394D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14" creationId="{9D7BE8A7-CBD7-D62B-3183-EA752191AB6E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15" creationId="{CF82059E-36BE-E852-354D-64D7F3A54357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24" creationId="{17021758-E398-93BA-2B7D-47FA19E4C164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25" creationId="{3E5B0C57-81DB-8C90-50C3-AD1AD8060F8D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26" creationId="{B31B6D86-D4A3-3201-ED4C-D10CEE2D4EA7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27" creationId="{712C9664-51F0-3DE9-6947-3D419987CE39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28" creationId="{366CF25F-52B3-52B6-FDAE-47A7BB3B4C16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29" creationId="{F5716C5D-861D-4C5A-5AD5-6E4184B579D5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30" creationId="{016AAA9E-7C47-F17A-F1C5-8D6295571CF1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31" creationId="{98E44638-086B-013F-9445-42ADF0505C95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32" creationId="{D0A88E72-36D3-438F-52FB-928DEA80E86C}"/>
          </ac:spMkLst>
        </pc:spChg>
        <pc:picChg chg="del">
          <ac:chgData name="Dominik Buchegger" userId="7f2052fac20aabcc" providerId="LiveId" clId="{CF54C7B0-0C24-437E-AEC1-F774AC07306D}" dt="2023-10-12T14:04:28.228" v="1166" actId="478"/>
          <ac:picMkLst>
            <pc:docMk/>
            <pc:sldMk cId="3995171968" sldId="1545"/>
            <ac:picMk id="2" creationId="{369E50E5-377C-4704-B202-B3FB68BEEB33}"/>
          </ac:picMkLst>
        </pc:picChg>
        <pc:picChg chg="add mod">
          <ac:chgData name="Dominik Buchegger" userId="7f2052fac20aabcc" providerId="LiveId" clId="{CF54C7B0-0C24-437E-AEC1-F774AC07306D}" dt="2023-10-12T14:04:53.953" v="1181" actId="1076"/>
          <ac:picMkLst>
            <pc:docMk/>
            <pc:sldMk cId="3995171968" sldId="1545"/>
            <ac:picMk id="5" creationId="{515AA386-11FD-124C-7F07-60FBA858DD9F}"/>
          </ac:picMkLst>
        </pc:picChg>
        <pc:picChg chg="del">
          <ac:chgData name="Dominik Buchegger" userId="7f2052fac20aabcc" providerId="LiveId" clId="{CF54C7B0-0C24-437E-AEC1-F774AC07306D}" dt="2023-10-12T14:04:29.195" v="1167" actId="478"/>
          <ac:picMkLst>
            <pc:docMk/>
            <pc:sldMk cId="3995171968" sldId="1545"/>
            <ac:picMk id="6" creationId="{4D099232-32ED-0D5E-22E4-D3871A931774}"/>
          </ac:picMkLst>
        </pc:picChg>
        <pc:picChg chg="add mod">
          <ac:chgData name="Dominik Buchegger" userId="7f2052fac20aabcc" providerId="LiveId" clId="{CF54C7B0-0C24-437E-AEC1-F774AC07306D}" dt="2023-10-12T14:10:11.209" v="1297" actId="1076"/>
          <ac:picMkLst>
            <pc:docMk/>
            <pc:sldMk cId="3995171968" sldId="1545"/>
            <ac:picMk id="33" creationId="{633EA2E7-0406-1D7E-F30D-93692A45CD70}"/>
          </ac:picMkLst>
        </pc:pic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16" creationId="{A9FF0D77-39F3-6679-2BBE-2661340B9061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17" creationId="{80549644-0062-81CF-EEC1-70AD9A75305E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18" creationId="{989013DE-C76A-07AC-0B5F-6A8F74C1D331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19" creationId="{A6215379-31F5-FD56-BFE3-6DE484663D3C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20" creationId="{0A6B49C9-8631-F9A3-F2D3-D47C9A5E33AB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21" creationId="{4B909F8A-DAC2-F437-E35F-F597209090A7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22" creationId="{18366853-4EEF-13C1-5925-B665CDD0ED62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23" creationId="{C7E9BE6F-225F-9E7F-7CF3-F96EB4F33EE3}"/>
          </ac:cxnSpMkLst>
        </pc:cxnChg>
      </pc:sldChg>
      <pc:sldChg chg="add del">
        <pc:chgData name="Dominik Buchegger" userId="7f2052fac20aabcc" providerId="LiveId" clId="{CF54C7B0-0C24-437E-AEC1-F774AC07306D}" dt="2023-10-12T14:04:31.303" v="1169"/>
        <pc:sldMkLst>
          <pc:docMk/>
          <pc:sldMk cId="1026812287" sldId="1546"/>
        </pc:sldMkLst>
      </pc:sldChg>
      <pc:sldChg chg="addSp modSp add mod">
        <pc:chgData name="Dominik Buchegger" userId="7f2052fac20aabcc" providerId="LiveId" clId="{CF54C7B0-0C24-437E-AEC1-F774AC07306D}" dt="2023-10-12T14:10:04.764" v="1293" actId="20577"/>
        <pc:sldMkLst>
          <pc:docMk/>
          <pc:sldMk cId="1345530787" sldId="1546"/>
        </pc:sldMkLst>
        <pc:spChg chg="mod">
          <ac:chgData name="Dominik Buchegger" userId="7f2052fac20aabcc" providerId="LiveId" clId="{CF54C7B0-0C24-437E-AEC1-F774AC07306D}" dt="2023-10-12T14:05:42.115" v="1202" actId="113"/>
          <ac:spMkLst>
            <pc:docMk/>
            <pc:sldMk cId="1345530787" sldId="1546"/>
            <ac:spMk id="8" creationId="{E0EB712D-88FF-652F-AD07-EBE500FC8B72}"/>
          </ac:spMkLst>
        </pc:spChg>
        <pc:spChg chg="add mod">
          <ac:chgData name="Dominik Buchegger" userId="7f2052fac20aabcc" providerId="LiveId" clId="{CF54C7B0-0C24-437E-AEC1-F774AC07306D}" dt="2023-10-12T14:10:04.764" v="1293" actId="20577"/>
          <ac:spMkLst>
            <pc:docMk/>
            <pc:sldMk cId="1345530787" sldId="1546"/>
            <ac:spMk id="13" creationId="{D39DB8A0-9444-D585-09A1-70FA28C75380}"/>
          </ac:spMkLst>
        </pc:spChg>
        <pc:picChg chg="add mod">
          <ac:chgData name="Dominik Buchegger" userId="7f2052fac20aabcc" providerId="LiveId" clId="{CF54C7B0-0C24-437E-AEC1-F774AC07306D}" dt="2023-10-12T14:09:16.092" v="1286" actId="1076"/>
          <ac:picMkLst>
            <pc:docMk/>
            <pc:sldMk cId="1345530787" sldId="1546"/>
            <ac:picMk id="14" creationId="{9953103D-1E19-A10A-043B-2FC98651F61F}"/>
          </ac:picMkLst>
        </pc:picChg>
        <pc:cxnChg chg="add mod">
          <ac:chgData name="Dominik Buchegger" userId="7f2052fac20aabcc" providerId="LiveId" clId="{CF54C7B0-0C24-437E-AEC1-F774AC07306D}" dt="2023-10-12T14:08:03.316" v="1234" actId="14100"/>
          <ac:cxnSpMkLst>
            <pc:docMk/>
            <pc:sldMk cId="1345530787" sldId="1546"/>
            <ac:cxnSpMk id="7" creationId="{14AA46D1-9C1D-0C0B-9832-40FDEB80DD62}"/>
          </ac:cxnSpMkLst>
        </pc:cxnChg>
        <pc:cxnChg chg="add mod">
          <ac:chgData name="Dominik Buchegger" userId="7f2052fac20aabcc" providerId="LiveId" clId="{CF54C7B0-0C24-437E-AEC1-F774AC07306D}" dt="2023-10-12T14:09:01.759" v="1281" actId="14100"/>
          <ac:cxnSpMkLst>
            <pc:docMk/>
            <pc:sldMk cId="1345530787" sldId="1546"/>
            <ac:cxnSpMk id="15" creationId="{5E8217FF-4309-9E0F-2BCA-F5118A5A3F1B}"/>
          </ac:cxnSpMkLst>
        </pc:cxnChg>
      </pc:sldChg>
      <pc:sldChg chg="addSp delSp modSp add del mod">
        <pc:chgData name="Dominik Buchegger" userId="7f2052fac20aabcc" providerId="LiveId" clId="{CF54C7B0-0C24-437E-AEC1-F774AC07306D}" dt="2023-10-12T14:04:58.649" v="1182" actId="47"/>
        <pc:sldMkLst>
          <pc:docMk/>
          <pc:sldMk cId="3768571585" sldId="1546"/>
        </pc:sldMkLst>
        <pc:spChg chg="del mod">
          <ac:chgData name="Dominik Buchegger" userId="7f2052fac20aabcc" providerId="LiveId" clId="{CF54C7B0-0C24-437E-AEC1-F774AC07306D}" dt="2023-10-12T14:04:40.789" v="1176" actId="478"/>
          <ac:spMkLst>
            <pc:docMk/>
            <pc:sldMk cId="3768571585" sldId="1546"/>
            <ac:spMk id="3" creationId="{C1C055D0-88FC-814E-85AF-F5DD6D247310}"/>
          </ac:spMkLst>
        </pc:spChg>
        <pc:spChg chg="mod">
          <ac:chgData name="Dominik Buchegger" userId="7f2052fac20aabcc" providerId="LiveId" clId="{CF54C7B0-0C24-437E-AEC1-F774AC07306D}" dt="2023-10-12T14:04:43.860" v="1178" actId="1076"/>
          <ac:spMkLst>
            <pc:docMk/>
            <pc:sldMk cId="3768571585" sldId="1546"/>
            <ac:spMk id="5" creationId="{DABB2ADA-E1DB-4B4A-B517-713666D358EF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9" creationId="{201A8C9A-26FE-AE4C-9409-8981F7EDD5F0}"/>
          </ac:spMkLst>
        </pc:spChg>
        <pc:spChg chg="add del mod">
          <ac:chgData name="Dominik Buchegger" userId="7f2052fac20aabcc" providerId="LiveId" clId="{CF54C7B0-0C24-437E-AEC1-F774AC07306D}" dt="2023-10-12T14:04:42.229" v="1177" actId="478"/>
          <ac:spMkLst>
            <pc:docMk/>
            <pc:sldMk cId="3768571585" sldId="1546"/>
            <ac:spMk id="10" creationId="{1A93B1D0-37D2-3A99-EC1F-078CCBF6FDA2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11" creationId="{08F1887C-886F-1C45-90AF-370A99B153A0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13" creationId="{F2976D75-FA9B-5B4C-8266-8CD60E8E7AAA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15" creationId="{A9E13AAD-9B57-694D-8805-B1D0649FF031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16" creationId="{85A71E3B-73C0-0C43-8CCF-7BF8A7D31537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18" creationId="{58E8A372-4FF3-7545-9513-13427DF042D6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19" creationId="{FAD10D64-2982-D747-8C6E-0D3CB44C4561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20" creationId="{C8DE209B-2AA3-5A4A-B376-1689DD5AD529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0" creationId="{6D48107B-8488-F645-936F-C7BEB847C9A2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1" creationId="{1778CAE0-7711-9F4F-963E-455C4FA49199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2" creationId="{8AB7BB1C-8E75-F04C-81E2-EA8EF077057A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3" creationId="{395B85EE-DF6E-F74C-BFE2-1EAC456496F5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4" creationId="{855CC770-988E-E546-852F-E0AAA1A6A297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5" creationId="{A7E9FAE8-663E-E946-AFBB-7C1BB2641C1C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6" creationId="{8422207B-EABF-634B-8CDD-AB8BB5797F15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7" creationId="{69C8F7DA-45DA-D04E-8A08-909B2A5C5658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8" creationId="{94A2D54E-AFF4-614E-B369-31FCACD97A5F}"/>
          </ac:spMkLst>
        </pc:spChg>
        <pc:picChg chg="add del mod">
          <ac:chgData name="Dominik Buchegger" userId="7f2052fac20aabcc" providerId="LiveId" clId="{CF54C7B0-0C24-437E-AEC1-F774AC07306D}" dt="2023-10-12T14:04:37.170" v="1173"/>
          <ac:picMkLst>
            <pc:docMk/>
            <pc:sldMk cId="3768571585" sldId="1546"/>
            <ac:picMk id="6" creationId="{7BB0593B-C62D-B216-DB50-FC85CD007CD0}"/>
          </ac:picMkLst>
        </pc:picChg>
        <pc:picChg chg="add del">
          <ac:chgData name="Dominik Buchegger" userId="7f2052fac20aabcc" providerId="LiveId" clId="{CF54C7B0-0C24-437E-AEC1-F774AC07306D}" dt="2023-10-12T14:04:47.594" v="1179" actId="21"/>
          <ac:picMkLst>
            <pc:docMk/>
            <pc:sldMk cId="3768571585" sldId="1546"/>
            <ac:picMk id="8" creationId="{AAE1F3F0-0B1C-B24B-A289-5034AC69FDFC}"/>
          </ac:picMkLst>
        </pc:pic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2" creationId="{5E056C44-FB96-3A42-8E4A-C36E50C6F36E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3" creationId="{0EF9D166-F25B-7240-81ED-B30CAD830593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4" creationId="{182396AC-0EF0-0046-8405-52087E866E57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5" creationId="{3BB36BA7-4A00-BB4D-BACE-F1D822563723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6" creationId="{07D658AB-C5BB-B448-9F50-E564025E7C2B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7" creationId="{538D7B0D-3AE0-5647-976C-B62B974DB113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8" creationId="{0FA1FD66-5350-D84B-BAEA-E0657A8A7230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9" creationId="{189ABA9B-3EAA-7140-88F9-D2BB9126F057}"/>
          </ac:cxnSpMkLst>
        </pc:cxnChg>
      </pc:sldChg>
      <pc:sldChg chg="addSp delSp modSp add mod">
        <pc:chgData name="Dominik Buchegger" userId="7f2052fac20aabcc" providerId="LiveId" clId="{CF54C7B0-0C24-437E-AEC1-F774AC07306D}" dt="2023-10-12T20:45:32.263" v="3074" actId="1076"/>
        <pc:sldMkLst>
          <pc:docMk/>
          <pc:sldMk cId="3358819934" sldId="1547"/>
        </pc:sldMkLst>
        <pc:spChg chg="mod">
          <ac:chgData name="Dominik Buchegger" userId="7f2052fac20aabcc" providerId="LiveId" clId="{CF54C7B0-0C24-437E-AEC1-F774AC07306D}" dt="2023-10-12T20:25:44.939" v="2664" actId="20577"/>
          <ac:spMkLst>
            <pc:docMk/>
            <pc:sldMk cId="3358819934" sldId="1547"/>
            <ac:spMk id="2" creationId="{8BF1B61B-0C25-A347-8E82-9E36B55C7C82}"/>
          </ac:spMkLst>
        </pc:spChg>
        <pc:spChg chg="add mod">
          <ac:chgData name="Dominik Buchegger" userId="7f2052fac20aabcc" providerId="LiveId" clId="{CF54C7B0-0C24-437E-AEC1-F774AC07306D}" dt="2023-10-12T20:03:44.415" v="1793" actId="1076"/>
          <ac:spMkLst>
            <pc:docMk/>
            <pc:sldMk cId="3358819934" sldId="1547"/>
            <ac:spMk id="9" creationId="{DEC51596-11BF-36EA-FDCA-2F86405E4C01}"/>
          </ac:spMkLst>
        </pc:spChg>
        <pc:spChg chg="add mod">
          <ac:chgData name="Dominik Buchegger" userId="7f2052fac20aabcc" providerId="LiveId" clId="{CF54C7B0-0C24-437E-AEC1-F774AC07306D}" dt="2023-10-12T20:03:38.625" v="1791" actId="113"/>
          <ac:spMkLst>
            <pc:docMk/>
            <pc:sldMk cId="3358819934" sldId="1547"/>
            <ac:spMk id="10" creationId="{152B4C01-FD5A-438C-6A94-20387C35A4B6}"/>
          </ac:spMkLst>
        </pc:spChg>
        <pc:spChg chg="add mod">
          <ac:chgData name="Dominik Buchegger" userId="7f2052fac20aabcc" providerId="LiveId" clId="{CF54C7B0-0C24-437E-AEC1-F774AC07306D}" dt="2023-10-12T20:10:08.012" v="1906" actId="208"/>
          <ac:spMkLst>
            <pc:docMk/>
            <pc:sldMk cId="3358819934" sldId="1547"/>
            <ac:spMk id="16" creationId="{E58332D1-71FE-70E2-5976-FD1B444DD532}"/>
          </ac:spMkLst>
        </pc:spChg>
        <pc:spChg chg="add mod">
          <ac:chgData name="Dominik Buchegger" userId="7f2052fac20aabcc" providerId="LiveId" clId="{CF54C7B0-0C24-437E-AEC1-F774AC07306D}" dt="2023-10-12T20:45:32.263" v="3074" actId="1076"/>
          <ac:spMkLst>
            <pc:docMk/>
            <pc:sldMk cId="3358819934" sldId="1547"/>
            <ac:spMk id="18" creationId="{02AEDD7E-BC9D-5C65-E16D-12510BCDF4F5}"/>
          </ac:spMkLst>
        </pc:spChg>
        <pc:spChg chg="mod">
          <ac:chgData name="Dominik Buchegger" userId="7f2052fac20aabcc" providerId="LiveId" clId="{CF54C7B0-0C24-437E-AEC1-F774AC07306D}" dt="2023-10-12T20:02:57.328" v="1718" actId="1076"/>
          <ac:spMkLst>
            <pc:docMk/>
            <pc:sldMk cId="3358819934" sldId="1547"/>
            <ac:spMk id="22" creationId="{265CBB9D-C18A-80C2-472E-1C084050581B}"/>
          </ac:spMkLst>
        </pc:spChg>
        <pc:spChg chg="del">
          <ac:chgData name="Dominik Buchegger" userId="7f2052fac20aabcc" providerId="LiveId" clId="{CF54C7B0-0C24-437E-AEC1-F774AC07306D}" dt="2023-10-12T19:59:11.480" v="1622" actId="478"/>
          <ac:spMkLst>
            <pc:docMk/>
            <pc:sldMk cId="3358819934" sldId="1547"/>
            <ac:spMk id="23" creationId="{41BB31FA-91CC-8643-CF09-1B1EF0ABF951}"/>
          </ac:spMkLst>
        </pc:spChg>
        <pc:spChg chg="del">
          <ac:chgData name="Dominik Buchegger" userId="7f2052fac20aabcc" providerId="LiveId" clId="{CF54C7B0-0C24-437E-AEC1-F774AC07306D}" dt="2023-10-12T19:59:15.643" v="1625" actId="478"/>
          <ac:spMkLst>
            <pc:docMk/>
            <pc:sldMk cId="3358819934" sldId="1547"/>
            <ac:spMk id="24" creationId="{1845E3AE-3291-F27A-23B6-796F6AE5E872}"/>
          </ac:spMkLst>
        </pc:spChg>
        <pc:spChg chg="mod">
          <ac:chgData name="Dominik Buchegger" userId="7f2052fac20aabcc" providerId="LiveId" clId="{CF54C7B0-0C24-437E-AEC1-F774AC07306D}" dt="2023-10-12T19:59:08.556" v="1621" actId="20577"/>
          <ac:spMkLst>
            <pc:docMk/>
            <pc:sldMk cId="3358819934" sldId="1547"/>
            <ac:spMk id="25" creationId="{06A0F4A3-2DF2-CB77-24B2-D587D564FDAF}"/>
          </ac:spMkLst>
        </pc:spChg>
        <pc:spChg chg="del">
          <ac:chgData name="Dominik Buchegger" userId="7f2052fac20aabcc" providerId="LiveId" clId="{CF54C7B0-0C24-437E-AEC1-F774AC07306D}" dt="2023-10-12T19:59:12.781" v="1623" actId="478"/>
          <ac:spMkLst>
            <pc:docMk/>
            <pc:sldMk cId="3358819934" sldId="1547"/>
            <ac:spMk id="26" creationId="{EF7290A0-10B8-0D64-7C3A-01203686CC6C}"/>
          </ac:spMkLst>
        </pc:spChg>
        <pc:spChg chg="del">
          <ac:chgData name="Dominik Buchegger" userId="7f2052fac20aabcc" providerId="LiveId" clId="{CF54C7B0-0C24-437E-AEC1-F774AC07306D}" dt="2023-10-12T19:59:17.954" v="1627" actId="478"/>
          <ac:spMkLst>
            <pc:docMk/>
            <pc:sldMk cId="3358819934" sldId="1547"/>
            <ac:spMk id="27" creationId="{E7ACF98A-E3A3-56D0-BB3B-5AA929793DC3}"/>
          </ac:spMkLst>
        </pc:spChg>
        <pc:picChg chg="del">
          <ac:chgData name="Dominik Buchegger" userId="7f2052fac20aabcc" providerId="LiveId" clId="{CF54C7B0-0C24-437E-AEC1-F774AC07306D}" dt="2023-10-12T19:59:04.089" v="1619" actId="478"/>
          <ac:picMkLst>
            <pc:docMk/>
            <pc:sldMk cId="3358819934" sldId="1547"/>
            <ac:picMk id="6" creationId="{A8C4E886-6E70-42E0-5F2D-18B99ADCB917}"/>
          </ac:picMkLst>
        </pc:picChg>
        <pc:picChg chg="add mod">
          <ac:chgData name="Dominik Buchegger" userId="7f2052fac20aabcc" providerId="LiveId" clId="{CF54C7B0-0C24-437E-AEC1-F774AC07306D}" dt="2023-10-12T20:03:40.388" v="1792" actId="1076"/>
          <ac:picMkLst>
            <pc:docMk/>
            <pc:sldMk cId="3358819934" sldId="1547"/>
            <ac:picMk id="7" creationId="{D4DFEBE8-B79E-CB34-2E77-C4DF9B52E47C}"/>
          </ac:picMkLst>
        </pc:picChg>
        <pc:picChg chg="del">
          <ac:chgData name="Dominik Buchegger" userId="7f2052fac20aabcc" providerId="LiveId" clId="{CF54C7B0-0C24-437E-AEC1-F774AC07306D}" dt="2023-10-12T19:59:20.118" v="1629" actId="478"/>
          <ac:picMkLst>
            <pc:docMk/>
            <pc:sldMk cId="3358819934" sldId="1547"/>
            <ac:picMk id="8" creationId="{621922C8-84F5-56D1-59FC-9EA2E466D5E3}"/>
          </ac:picMkLst>
        </pc:picChg>
        <pc:picChg chg="add mod">
          <ac:chgData name="Dominik Buchegger" userId="7f2052fac20aabcc" providerId="LiveId" clId="{CF54C7B0-0C24-437E-AEC1-F774AC07306D}" dt="2023-10-12T20:09:14.012" v="1898" actId="14100"/>
          <ac:picMkLst>
            <pc:docMk/>
            <pc:sldMk cId="3358819934" sldId="1547"/>
            <ac:picMk id="12" creationId="{5705C2FF-DA22-BEC8-C788-79C4958227C5}"/>
          </ac:picMkLst>
        </pc:picChg>
        <pc:picChg chg="add mod">
          <ac:chgData name="Dominik Buchegger" userId="7f2052fac20aabcc" providerId="LiveId" clId="{CF54C7B0-0C24-437E-AEC1-F774AC07306D}" dt="2023-10-12T20:09:34.706" v="1901" actId="14100"/>
          <ac:picMkLst>
            <pc:docMk/>
            <pc:sldMk cId="3358819934" sldId="1547"/>
            <ac:picMk id="14" creationId="{E07B8A01-4AB3-6B0F-C722-AFEF81D98111}"/>
          </ac:picMkLst>
        </pc:picChg>
        <pc:picChg chg="del">
          <ac:chgData name="Dominik Buchegger" userId="7f2052fac20aabcc" providerId="LiveId" clId="{CF54C7B0-0C24-437E-AEC1-F774AC07306D}" dt="2023-10-12T19:59:13.778" v="1624" actId="478"/>
          <ac:picMkLst>
            <pc:docMk/>
            <pc:sldMk cId="3358819934" sldId="1547"/>
            <ac:picMk id="15" creationId="{6BF5BEF4-D229-9356-BFB8-375496E1FAD8}"/>
          </ac:picMkLst>
        </pc:picChg>
        <pc:picChg chg="del">
          <ac:chgData name="Dominik Buchegger" userId="7f2052fac20aabcc" providerId="LiveId" clId="{CF54C7B0-0C24-437E-AEC1-F774AC07306D}" dt="2023-10-12T19:59:16.539" v="1626" actId="478"/>
          <ac:picMkLst>
            <pc:docMk/>
            <pc:sldMk cId="3358819934" sldId="1547"/>
            <ac:picMk id="17" creationId="{F739DC3F-9E26-D3EE-859A-6D8F2A898B75}"/>
          </ac:picMkLst>
        </pc:picChg>
        <pc:picChg chg="del">
          <ac:chgData name="Dominik Buchegger" userId="7f2052fac20aabcc" providerId="LiveId" clId="{CF54C7B0-0C24-437E-AEC1-F774AC07306D}" dt="2023-10-12T19:59:19.066" v="1628" actId="478"/>
          <ac:picMkLst>
            <pc:docMk/>
            <pc:sldMk cId="3358819934" sldId="1547"/>
            <ac:picMk id="21" creationId="{6EDD7310-B0AA-D2AE-012C-90528F7CAA9C}"/>
          </ac:picMkLst>
        </pc:picChg>
      </pc:sldChg>
      <pc:sldChg chg="delSp modSp add del mod">
        <pc:chgData name="Dominik Buchegger" userId="7f2052fac20aabcc" providerId="LiveId" clId="{CF54C7B0-0C24-437E-AEC1-F774AC07306D}" dt="2023-10-12T20:31:44.986" v="2890" actId="47"/>
        <pc:sldMkLst>
          <pc:docMk/>
          <pc:sldMk cId="479269018" sldId="1548"/>
        </pc:sldMkLst>
        <pc:picChg chg="del mod modCrop">
          <ac:chgData name="Dominik Buchegger" userId="7f2052fac20aabcc" providerId="LiveId" clId="{CF54C7B0-0C24-437E-AEC1-F774AC07306D}" dt="2023-10-12T20:25:58.805" v="2667" actId="478"/>
          <ac:picMkLst>
            <pc:docMk/>
            <pc:sldMk cId="479269018" sldId="1548"/>
            <ac:picMk id="6" creationId="{A8C4E886-6E70-42E0-5F2D-18B99ADCB917}"/>
          </ac:picMkLst>
        </pc:picChg>
      </pc:sldChg>
      <pc:sldChg chg="addSp delSp modSp add mod">
        <pc:chgData name="Dominik Buchegger" userId="7f2052fac20aabcc" providerId="LiveId" clId="{CF54C7B0-0C24-437E-AEC1-F774AC07306D}" dt="2023-10-12T20:47:01.424" v="3078"/>
        <pc:sldMkLst>
          <pc:docMk/>
          <pc:sldMk cId="2005746944" sldId="1549"/>
        </pc:sldMkLst>
        <pc:spChg chg="mod">
          <ac:chgData name="Dominik Buchegger" userId="7f2052fac20aabcc" providerId="LiveId" clId="{CF54C7B0-0C24-437E-AEC1-F774AC07306D}" dt="2023-10-12T20:25:48.757" v="2666" actId="20577"/>
          <ac:spMkLst>
            <pc:docMk/>
            <pc:sldMk cId="2005746944" sldId="1549"/>
            <ac:spMk id="2" creationId="{8BF1B61B-0C25-A347-8E82-9E36B55C7C82}"/>
          </ac:spMkLst>
        </pc:spChg>
        <pc:spChg chg="del">
          <ac:chgData name="Dominik Buchegger" userId="7f2052fac20aabcc" providerId="LiveId" clId="{CF54C7B0-0C24-437E-AEC1-F774AC07306D}" dt="2023-10-12T20:18:26.615" v="2282" actId="478"/>
          <ac:spMkLst>
            <pc:docMk/>
            <pc:sldMk cId="2005746944" sldId="1549"/>
            <ac:spMk id="3" creationId="{C1C055D0-88FC-814E-85AF-F5DD6D247310}"/>
          </ac:spMkLst>
        </pc:spChg>
        <pc:spChg chg="add mod">
          <ac:chgData name="Dominik Buchegger" userId="7f2052fac20aabcc" providerId="LiveId" clId="{CF54C7B0-0C24-437E-AEC1-F774AC07306D}" dt="2023-10-12T20:13:40.862" v="2107" actId="20577"/>
          <ac:spMkLst>
            <pc:docMk/>
            <pc:sldMk cId="2005746944" sldId="1549"/>
            <ac:spMk id="8" creationId="{CC9F14B6-8F29-4215-200E-BE3B89CC6463}"/>
          </ac:spMkLst>
        </pc:spChg>
        <pc:spChg chg="del">
          <ac:chgData name="Dominik Buchegger" userId="7f2052fac20aabcc" providerId="LiveId" clId="{CF54C7B0-0C24-437E-AEC1-F774AC07306D}" dt="2023-10-12T20:06:28.361" v="1890" actId="478"/>
          <ac:spMkLst>
            <pc:docMk/>
            <pc:sldMk cId="2005746944" sldId="1549"/>
            <ac:spMk id="9" creationId="{DEC51596-11BF-36EA-FDCA-2F86405E4C01}"/>
          </ac:spMkLst>
        </pc:spChg>
        <pc:spChg chg="mod">
          <ac:chgData name="Dominik Buchegger" userId="7f2052fac20aabcc" providerId="LiveId" clId="{CF54C7B0-0C24-437E-AEC1-F774AC07306D}" dt="2023-10-12T20:23:45.710" v="2507" actId="20577"/>
          <ac:spMkLst>
            <pc:docMk/>
            <pc:sldMk cId="2005746944" sldId="1549"/>
            <ac:spMk id="10" creationId="{152B4C01-FD5A-438C-6A94-20387C35A4B6}"/>
          </ac:spMkLst>
        </pc:spChg>
        <pc:spChg chg="add mod">
          <ac:chgData name="Dominik Buchegger" userId="7f2052fac20aabcc" providerId="LiveId" clId="{CF54C7B0-0C24-437E-AEC1-F774AC07306D}" dt="2023-10-12T20:47:01.424" v="3078"/>
          <ac:spMkLst>
            <pc:docMk/>
            <pc:sldMk cId="2005746944" sldId="1549"/>
            <ac:spMk id="14" creationId="{CD137E58-5F25-F5BF-F297-349BB9FE430D}"/>
          </ac:spMkLst>
        </pc:spChg>
        <pc:spChg chg="add mod">
          <ac:chgData name="Dominik Buchegger" userId="7f2052fac20aabcc" providerId="LiveId" clId="{CF54C7B0-0C24-437E-AEC1-F774AC07306D}" dt="2023-10-12T20:24:47.903" v="2614" actId="1076"/>
          <ac:spMkLst>
            <pc:docMk/>
            <pc:sldMk cId="2005746944" sldId="1549"/>
            <ac:spMk id="19" creationId="{E764DA6A-26E8-83A7-B5C0-229353AEF56B}"/>
          </ac:spMkLst>
        </pc:spChg>
        <pc:spChg chg="mod">
          <ac:chgData name="Dominik Buchegger" userId="7f2052fac20aabcc" providerId="LiveId" clId="{CF54C7B0-0C24-437E-AEC1-F774AC07306D}" dt="2023-10-12T20:06:10.174" v="1844" actId="20577"/>
          <ac:spMkLst>
            <pc:docMk/>
            <pc:sldMk cId="2005746944" sldId="1549"/>
            <ac:spMk id="22" creationId="{265CBB9D-C18A-80C2-472E-1C084050581B}"/>
          </ac:spMkLst>
        </pc:spChg>
        <pc:spChg chg="mod">
          <ac:chgData name="Dominik Buchegger" userId="7f2052fac20aabcc" providerId="LiveId" clId="{CF54C7B0-0C24-437E-AEC1-F774AC07306D}" dt="2023-10-12T20:05:56.748" v="1807" actId="20577"/>
          <ac:spMkLst>
            <pc:docMk/>
            <pc:sldMk cId="2005746944" sldId="1549"/>
            <ac:spMk id="25" creationId="{06A0F4A3-2DF2-CB77-24B2-D587D564FDAF}"/>
          </ac:spMkLst>
        </pc:spChg>
        <pc:picChg chg="add mod">
          <ac:chgData name="Dominik Buchegger" userId="7f2052fac20aabcc" providerId="LiveId" clId="{CF54C7B0-0C24-437E-AEC1-F774AC07306D}" dt="2023-10-12T20:11:51.804" v="1908" actId="1076"/>
          <ac:picMkLst>
            <pc:docMk/>
            <pc:sldMk cId="2005746944" sldId="1549"/>
            <ac:picMk id="6" creationId="{1195DC1B-CCD7-5807-6A6C-71C07AE9CD49}"/>
          </ac:picMkLst>
        </pc:picChg>
        <pc:picChg chg="del">
          <ac:chgData name="Dominik Buchegger" userId="7f2052fac20aabcc" providerId="LiveId" clId="{CF54C7B0-0C24-437E-AEC1-F774AC07306D}" dt="2023-10-12T20:06:26.704" v="1889" actId="478"/>
          <ac:picMkLst>
            <pc:docMk/>
            <pc:sldMk cId="2005746944" sldId="1549"/>
            <ac:picMk id="7" creationId="{D4DFEBE8-B79E-CB34-2E77-C4DF9B52E47C}"/>
          </ac:picMkLst>
        </pc:picChg>
        <pc:picChg chg="del">
          <ac:chgData name="Dominik Buchegger" userId="7f2052fac20aabcc" providerId="LiveId" clId="{CF54C7B0-0C24-437E-AEC1-F774AC07306D}" dt="2023-10-12T20:06:34.281" v="1891" actId="478"/>
          <ac:picMkLst>
            <pc:docMk/>
            <pc:sldMk cId="2005746944" sldId="1549"/>
            <ac:picMk id="12" creationId="{5705C2FF-DA22-BEC8-C788-79C4958227C5}"/>
          </ac:picMkLst>
        </pc:picChg>
        <pc:picChg chg="add del mod">
          <ac:chgData name="Dominik Buchegger" userId="7f2052fac20aabcc" providerId="LiveId" clId="{CF54C7B0-0C24-437E-AEC1-F774AC07306D}" dt="2023-10-12T20:18:13.044" v="2257" actId="478"/>
          <ac:picMkLst>
            <pc:docMk/>
            <pc:sldMk cId="2005746944" sldId="1549"/>
            <ac:picMk id="13" creationId="{BB3E3569-0726-1B56-BE05-D18847636E89}"/>
          </ac:picMkLst>
        </pc:picChg>
        <pc:picChg chg="add mod">
          <ac:chgData name="Dominik Buchegger" userId="7f2052fac20aabcc" providerId="LiveId" clId="{CF54C7B0-0C24-437E-AEC1-F774AC07306D}" dt="2023-10-12T20:23:39.195" v="2502" actId="14100"/>
          <ac:picMkLst>
            <pc:docMk/>
            <pc:sldMk cId="2005746944" sldId="1549"/>
            <ac:picMk id="16" creationId="{726A7943-620E-7953-52BF-E0A47A8A31F3}"/>
          </ac:picMkLst>
        </pc:picChg>
        <pc:picChg chg="add mod">
          <ac:chgData name="Dominik Buchegger" userId="7f2052fac20aabcc" providerId="LiveId" clId="{CF54C7B0-0C24-437E-AEC1-F774AC07306D}" dt="2023-10-12T20:23:35.483" v="2501" actId="14100"/>
          <ac:picMkLst>
            <pc:docMk/>
            <pc:sldMk cId="2005746944" sldId="1549"/>
            <ac:picMk id="18" creationId="{39CC7418-7CDD-B4B5-55B4-70AB164025BD}"/>
          </ac:picMkLst>
        </pc:picChg>
      </pc:sldChg>
      <pc:sldChg chg="addSp delSp modSp add mod">
        <pc:chgData name="Dominik Buchegger" userId="7f2052fac20aabcc" providerId="LiveId" clId="{CF54C7B0-0C24-437E-AEC1-F774AC07306D}" dt="2023-10-12T20:42:05.391" v="2913" actId="14100"/>
        <pc:sldMkLst>
          <pc:docMk/>
          <pc:sldMk cId="3415766370" sldId="1550"/>
        </pc:sldMkLst>
        <pc:spChg chg="add mod">
          <ac:chgData name="Dominik Buchegger" userId="7f2052fac20aabcc" providerId="LiveId" clId="{CF54C7B0-0C24-437E-AEC1-F774AC07306D}" dt="2023-10-12T20:30:05.983" v="2766" actId="14100"/>
          <ac:spMkLst>
            <pc:docMk/>
            <pc:sldMk cId="3415766370" sldId="1550"/>
            <ac:spMk id="7" creationId="{E52E146F-D2D5-3FAB-1EF6-22A13C2914C5}"/>
          </ac:spMkLst>
        </pc:spChg>
        <pc:spChg chg="del">
          <ac:chgData name="Dominik Buchegger" userId="7f2052fac20aabcc" providerId="LiveId" clId="{CF54C7B0-0C24-437E-AEC1-F774AC07306D}" dt="2023-10-12T20:28:23.289" v="2688" actId="478"/>
          <ac:spMkLst>
            <pc:docMk/>
            <pc:sldMk cId="3415766370" sldId="1550"/>
            <ac:spMk id="8" creationId="{CC9F14B6-8F29-4215-200E-BE3B89CC6463}"/>
          </ac:spMkLst>
        </pc:spChg>
        <pc:spChg chg="add mod">
          <ac:chgData name="Dominik Buchegger" userId="7f2052fac20aabcc" providerId="LiveId" clId="{CF54C7B0-0C24-437E-AEC1-F774AC07306D}" dt="2023-10-12T20:39:43.769" v="2895" actId="20577"/>
          <ac:spMkLst>
            <pc:docMk/>
            <pc:sldMk cId="3415766370" sldId="1550"/>
            <ac:spMk id="9" creationId="{734836B6-16F4-865B-475A-09F5EC9F56A0}"/>
          </ac:spMkLst>
        </pc:spChg>
        <pc:spChg chg="mod">
          <ac:chgData name="Dominik Buchegger" userId="7f2052fac20aabcc" providerId="LiveId" clId="{CF54C7B0-0C24-437E-AEC1-F774AC07306D}" dt="2023-10-12T20:28:15.630" v="2671" actId="20577"/>
          <ac:spMkLst>
            <pc:docMk/>
            <pc:sldMk cId="3415766370" sldId="1550"/>
            <ac:spMk id="10" creationId="{152B4C01-FD5A-438C-6A94-20387C35A4B6}"/>
          </ac:spMkLst>
        </pc:spChg>
        <pc:spChg chg="del">
          <ac:chgData name="Dominik Buchegger" userId="7f2052fac20aabcc" providerId="LiveId" clId="{CF54C7B0-0C24-437E-AEC1-F774AC07306D}" dt="2023-10-12T20:28:25.716" v="2689" actId="478"/>
          <ac:spMkLst>
            <pc:docMk/>
            <pc:sldMk cId="3415766370" sldId="1550"/>
            <ac:spMk id="14" creationId="{CD137E58-5F25-F5BF-F297-349BB9FE430D}"/>
          </ac:spMkLst>
        </pc:spChg>
        <pc:spChg chg="add mod">
          <ac:chgData name="Dominik Buchegger" userId="7f2052fac20aabcc" providerId="LiveId" clId="{CF54C7B0-0C24-437E-AEC1-F774AC07306D}" dt="2023-10-12T20:41:44.132" v="2905" actId="1036"/>
          <ac:spMkLst>
            <pc:docMk/>
            <pc:sldMk cId="3415766370" sldId="1550"/>
            <ac:spMk id="17" creationId="{4EE5DFD5-6E52-15F5-AA1C-AEC6CCECFD08}"/>
          </ac:spMkLst>
        </pc:spChg>
        <pc:spChg chg="del">
          <ac:chgData name="Dominik Buchegger" userId="7f2052fac20aabcc" providerId="LiveId" clId="{CF54C7B0-0C24-437E-AEC1-F774AC07306D}" dt="2023-10-12T20:28:31.023" v="2693" actId="478"/>
          <ac:spMkLst>
            <pc:docMk/>
            <pc:sldMk cId="3415766370" sldId="1550"/>
            <ac:spMk id="19" creationId="{E764DA6A-26E8-83A7-B5C0-229353AEF56B}"/>
          </ac:spMkLst>
        </pc:spChg>
        <pc:spChg chg="add mod">
          <ac:chgData name="Dominik Buchegger" userId="7f2052fac20aabcc" providerId="LiveId" clId="{CF54C7B0-0C24-437E-AEC1-F774AC07306D}" dt="2023-10-12T20:42:05.391" v="2913" actId="14100"/>
          <ac:spMkLst>
            <pc:docMk/>
            <pc:sldMk cId="3415766370" sldId="1550"/>
            <ac:spMk id="20" creationId="{0D18305D-5E41-EEAC-D6E1-A5C2C21884B1}"/>
          </ac:spMkLst>
        </pc:spChg>
        <pc:spChg chg="mod">
          <ac:chgData name="Dominik Buchegger" userId="7f2052fac20aabcc" providerId="LiveId" clId="{CF54C7B0-0C24-437E-AEC1-F774AC07306D}" dt="2023-10-12T20:29:16.396" v="2720" actId="1076"/>
          <ac:spMkLst>
            <pc:docMk/>
            <pc:sldMk cId="3415766370" sldId="1550"/>
            <ac:spMk id="22" creationId="{265CBB9D-C18A-80C2-472E-1C084050581B}"/>
          </ac:spMkLst>
        </pc:spChg>
        <pc:spChg chg="mod">
          <ac:chgData name="Dominik Buchegger" userId="7f2052fac20aabcc" providerId="LiveId" clId="{CF54C7B0-0C24-437E-AEC1-F774AC07306D}" dt="2023-10-12T20:28:12.786" v="2670" actId="20577"/>
          <ac:spMkLst>
            <pc:docMk/>
            <pc:sldMk cId="3415766370" sldId="1550"/>
            <ac:spMk id="25" creationId="{06A0F4A3-2DF2-CB77-24B2-D587D564FDAF}"/>
          </ac:spMkLst>
        </pc:spChg>
        <pc:picChg chg="add del mod">
          <ac:chgData name="Dominik Buchegger" userId="7f2052fac20aabcc" providerId="LiveId" clId="{CF54C7B0-0C24-437E-AEC1-F774AC07306D}" dt="2023-10-12T20:39:36.891" v="2892" actId="478"/>
          <ac:picMkLst>
            <pc:docMk/>
            <pc:sldMk cId="3415766370" sldId="1550"/>
            <ac:picMk id="5" creationId="{CED2D2AA-5B01-85A6-4E17-BCC0B7E0F430}"/>
          </ac:picMkLst>
        </pc:picChg>
        <pc:picChg chg="del">
          <ac:chgData name="Dominik Buchegger" userId="7f2052fac20aabcc" providerId="LiveId" clId="{CF54C7B0-0C24-437E-AEC1-F774AC07306D}" dt="2023-10-12T20:28:27.027" v="2690" actId="478"/>
          <ac:picMkLst>
            <pc:docMk/>
            <pc:sldMk cId="3415766370" sldId="1550"/>
            <ac:picMk id="6" creationId="{1195DC1B-CCD7-5807-6A6C-71C07AE9CD49}"/>
          </ac:picMkLst>
        </pc:picChg>
        <pc:picChg chg="add mod">
          <ac:chgData name="Dominik Buchegger" userId="7f2052fac20aabcc" providerId="LiveId" clId="{CF54C7B0-0C24-437E-AEC1-F774AC07306D}" dt="2023-10-12T20:40:42.288" v="2897" actId="1076"/>
          <ac:picMkLst>
            <pc:docMk/>
            <pc:sldMk cId="3415766370" sldId="1550"/>
            <ac:picMk id="12" creationId="{21AA93A9-BF2F-A96E-5704-E35C0E7FC13F}"/>
          </ac:picMkLst>
        </pc:picChg>
        <pc:picChg chg="add mod">
          <ac:chgData name="Dominik Buchegger" userId="7f2052fac20aabcc" providerId="LiveId" clId="{CF54C7B0-0C24-437E-AEC1-F774AC07306D}" dt="2023-10-12T20:41:13.030" v="2899" actId="1076"/>
          <ac:picMkLst>
            <pc:docMk/>
            <pc:sldMk cId="3415766370" sldId="1550"/>
            <ac:picMk id="15" creationId="{F9B2EB1E-BCA5-0C4F-6E31-169B0FE62A84}"/>
          </ac:picMkLst>
        </pc:picChg>
        <pc:picChg chg="del">
          <ac:chgData name="Dominik Buchegger" userId="7f2052fac20aabcc" providerId="LiveId" clId="{CF54C7B0-0C24-437E-AEC1-F774AC07306D}" dt="2023-10-12T20:28:28.281" v="2691" actId="478"/>
          <ac:picMkLst>
            <pc:docMk/>
            <pc:sldMk cId="3415766370" sldId="1550"/>
            <ac:picMk id="16" creationId="{726A7943-620E-7953-52BF-E0A47A8A31F3}"/>
          </ac:picMkLst>
        </pc:picChg>
        <pc:picChg chg="del">
          <ac:chgData name="Dominik Buchegger" userId="7f2052fac20aabcc" providerId="LiveId" clId="{CF54C7B0-0C24-437E-AEC1-F774AC07306D}" dt="2023-10-12T20:28:29.380" v="2692" actId="478"/>
          <ac:picMkLst>
            <pc:docMk/>
            <pc:sldMk cId="3415766370" sldId="1550"/>
            <ac:picMk id="18" creationId="{39CC7418-7CDD-B4B5-55B4-70AB164025BD}"/>
          </ac:picMkLst>
        </pc:picChg>
      </pc:sldChg>
      <pc:sldChg chg="addSp modSp add mod">
        <pc:chgData name="Dominik Buchegger" userId="7f2052fac20aabcc" providerId="LiveId" clId="{CF54C7B0-0C24-437E-AEC1-F774AC07306D}" dt="2023-10-12T21:16:49.417" v="4778" actId="207"/>
        <pc:sldMkLst>
          <pc:docMk/>
          <pc:sldMk cId="3672645683" sldId="1551"/>
        </pc:sldMkLst>
        <pc:spChg chg="add mod">
          <ac:chgData name="Dominik Buchegger" userId="7f2052fac20aabcc" providerId="LiveId" clId="{CF54C7B0-0C24-437E-AEC1-F774AC07306D}" dt="2023-10-12T21:16:49.417" v="4778" actId="207"/>
          <ac:spMkLst>
            <pc:docMk/>
            <pc:sldMk cId="3672645683" sldId="1551"/>
            <ac:spMk id="3" creationId="{15BC3D1F-0A51-C173-A388-EAC74E426657}"/>
          </ac:spMkLst>
        </pc:spChg>
        <pc:spChg chg="mod">
          <ac:chgData name="Dominik Buchegger" userId="7f2052fac20aabcc" providerId="LiveId" clId="{CF54C7B0-0C24-437E-AEC1-F774AC07306D}" dt="2023-10-12T20:42:20.833" v="2915" actId="20577"/>
          <ac:spMkLst>
            <pc:docMk/>
            <pc:sldMk cId="3672645683" sldId="1551"/>
            <ac:spMk id="7" creationId="{E52E146F-D2D5-3FAB-1EF6-22A13C2914C5}"/>
          </ac:spMkLst>
        </pc:spChg>
        <pc:spChg chg="mod">
          <ac:chgData name="Dominik Buchegger" userId="7f2052fac20aabcc" providerId="LiveId" clId="{CF54C7B0-0C24-437E-AEC1-F774AC07306D}" dt="2023-10-12T20:42:18.565" v="2914" actId="21"/>
          <ac:spMkLst>
            <pc:docMk/>
            <pc:sldMk cId="3672645683" sldId="1551"/>
            <ac:spMk id="9" creationId="{734836B6-16F4-865B-475A-09F5EC9F56A0}"/>
          </ac:spMkLst>
        </pc:spChg>
        <pc:spChg chg="mod">
          <ac:chgData name="Dominik Buchegger" userId="7f2052fac20aabcc" providerId="LiveId" clId="{CF54C7B0-0C24-437E-AEC1-F774AC07306D}" dt="2023-10-12T20:42:36.021" v="2945" actId="20577"/>
          <ac:spMkLst>
            <pc:docMk/>
            <pc:sldMk cId="3672645683" sldId="1551"/>
            <ac:spMk id="22" creationId="{265CBB9D-C18A-80C2-472E-1C084050581B}"/>
          </ac:spMkLst>
        </pc:spChg>
        <pc:spChg chg="mod">
          <ac:chgData name="Dominik Buchegger" userId="7f2052fac20aabcc" providerId="LiveId" clId="{CF54C7B0-0C24-437E-AEC1-F774AC07306D}" dt="2023-10-12T20:42:43.181" v="2947" actId="20577"/>
          <ac:spMkLst>
            <pc:docMk/>
            <pc:sldMk cId="3672645683" sldId="1551"/>
            <ac:spMk id="25" creationId="{06A0F4A3-2DF2-CB77-24B2-D587D564FDAF}"/>
          </ac:spMkLst>
        </pc:spChg>
      </pc:sldChg>
      <pc:sldChg chg="addSp delSp modSp add mod">
        <pc:chgData name="Dominik Buchegger" userId="7f2052fac20aabcc" providerId="LiveId" clId="{CF54C7B0-0C24-437E-AEC1-F774AC07306D}" dt="2023-10-12T21:12:14.842" v="4748" actId="1076"/>
        <pc:sldMkLst>
          <pc:docMk/>
          <pc:sldMk cId="3893471197" sldId="1552"/>
        </pc:sldMkLst>
        <pc:spChg chg="mod">
          <ac:chgData name="Dominik Buchegger" userId="7f2052fac20aabcc" providerId="LiveId" clId="{CF54C7B0-0C24-437E-AEC1-F774AC07306D}" dt="2023-10-12T20:54:29.153" v="3165" actId="207"/>
          <ac:spMkLst>
            <pc:docMk/>
            <pc:sldMk cId="3893471197" sldId="1552"/>
            <ac:spMk id="2" creationId="{8BF1B61B-0C25-A347-8E82-9E36B55C7C82}"/>
          </ac:spMkLst>
        </pc:spChg>
        <pc:spChg chg="del">
          <ac:chgData name="Dominik Buchegger" userId="7f2052fac20aabcc" providerId="LiveId" clId="{CF54C7B0-0C24-437E-AEC1-F774AC07306D}" dt="2023-10-12T20:54:30.956" v="3166" actId="478"/>
          <ac:spMkLst>
            <pc:docMk/>
            <pc:sldMk cId="3893471197" sldId="1552"/>
            <ac:spMk id="3" creationId="{15BC3D1F-0A51-C173-A388-EAC74E426657}"/>
          </ac:spMkLst>
        </pc:spChg>
        <pc:spChg chg="add mod">
          <ac:chgData name="Dominik Buchegger" userId="7f2052fac20aabcc" providerId="LiveId" clId="{CF54C7B0-0C24-437E-AEC1-F774AC07306D}" dt="2023-10-12T21:12:14.842" v="4748" actId="1076"/>
          <ac:spMkLst>
            <pc:docMk/>
            <pc:sldMk cId="3893471197" sldId="1552"/>
            <ac:spMk id="15" creationId="{6CABEB7D-E687-7DE7-CDC1-10ECCC21504C}"/>
          </ac:spMkLst>
        </pc:spChg>
        <pc:spChg chg="add mod">
          <ac:chgData name="Dominik Buchegger" userId="7f2052fac20aabcc" providerId="LiveId" clId="{CF54C7B0-0C24-437E-AEC1-F774AC07306D}" dt="2023-10-12T21:12:08.155" v="4747" actId="1076"/>
          <ac:spMkLst>
            <pc:docMk/>
            <pc:sldMk cId="3893471197" sldId="1552"/>
            <ac:spMk id="16" creationId="{0FC4A479-6C88-C116-62F4-68F4B7C20B65}"/>
          </ac:spMkLst>
        </pc:spChg>
        <pc:spChg chg="del mod">
          <ac:chgData name="Dominik Buchegger" userId="7f2052fac20aabcc" providerId="LiveId" clId="{CF54C7B0-0C24-437E-AEC1-F774AC07306D}" dt="2023-10-12T20:54:35.132" v="3169" actId="478"/>
          <ac:spMkLst>
            <pc:docMk/>
            <pc:sldMk cId="3893471197" sldId="1552"/>
            <ac:spMk id="22" creationId="{265CBB9D-C18A-80C2-472E-1C084050581B}"/>
          </ac:spMkLst>
        </pc:spChg>
        <pc:spChg chg="del">
          <ac:chgData name="Dominik Buchegger" userId="7f2052fac20aabcc" providerId="LiveId" clId="{CF54C7B0-0C24-437E-AEC1-F774AC07306D}" dt="2023-10-12T20:54:36.223" v="3170" actId="478"/>
          <ac:spMkLst>
            <pc:docMk/>
            <pc:sldMk cId="3893471197" sldId="1552"/>
            <ac:spMk id="25" creationId="{06A0F4A3-2DF2-CB77-24B2-D587D564FDAF}"/>
          </ac:spMkLst>
        </pc:spChg>
        <pc:picChg chg="del">
          <ac:chgData name="Dominik Buchegger" userId="7f2052fac20aabcc" providerId="LiveId" clId="{CF54C7B0-0C24-437E-AEC1-F774AC07306D}" dt="2023-10-12T20:54:31.908" v="3167" actId="478"/>
          <ac:picMkLst>
            <pc:docMk/>
            <pc:sldMk cId="3893471197" sldId="1552"/>
            <ac:picMk id="5" creationId="{CED2D2AA-5B01-85A6-4E17-BCC0B7E0F430}"/>
          </ac:picMkLst>
        </pc:picChg>
        <pc:picChg chg="add mod">
          <ac:chgData name="Dominik Buchegger" userId="7f2052fac20aabcc" providerId="LiveId" clId="{CF54C7B0-0C24-437E-AEC1-F774AC07306D}" dt="2023-10-12T21:05:16.767" v="4001" actId="14100"/>
          <ac:picMkLst>
            <pc:docMk/>
            <pc:sldMk cId="3893471197" sldId="1552"/>
            <ac:picMk id="8" creationId="{6814A0C2-FE0B-2DC4-9EA8-0E124EC66049}"/>
          </ac:picMkLst>
        </pc:picChg>
        <pc:picChg chg="add mod">
          <ac:chgData name="Dominik Buchegger" userId="7f2052fac20aabcc" providerId="LiveId" clId="{CF54C7B0-0C24-437E-AEC1-F774AC07306D}" dt="2023-10-12T21:05:23.311" v="4003" actId="1076"/>
          <ac:picMkLst>
            <pc:docMk/>
            <pc:sldMk cId="3893471197" sldId="1552"/>
            <ac:picMk id="12" creationId="{FE9954F3-C4D6-D235-BDBC-CD042C56D5EA}"/>
          </ac:picMkLst>
        </pc:picChg>
        <pc:picChg chg="add mod">
          <ac:chgData name="Dominik Buchegger" userId="7f2052fac20aabcc" providerId="LiveId" clId="{CF54C7B0-0C24-437E-AEC1-F774AC07306D}" dt="2023-10-12T20:59:37.064" v="3510" actId="1076"/>
          <ac:picMkLst>
            <pc:docMk/>
            <pc:sldMk cId="3893471197" sldId="1552"/>
            <ac:picMk id="14" creationId="{257CA445-84C6-E8F6-2079-BE23811BE0C7}"/>
          </ac:picMkLst>
        </pc:picChg>
      </pc:sldChg>
      <pc:sldMasterChg chg="delSldLayout">
        <pc:chgData name="Dominik Buchegger" userId="7f2052fac20aabcc" providerId="LiveId" clId="{CF54C7B0-0C24-437E-AEC1-F774AC07306D}" dt="2023-10-12T14:55:23.615" v="1405" actId="2696"/>
        <pc:sldMasterMkLst>
          <pc:docMk/>
          <pc:sldMasterMk cId="4246037650" sldId="2147483660"/>
        </pc:sldMasterMkLst>
        <pc:sldLayoutChg chg="del">
          <pc:chgData name="Dominik Buchegger" userId="7f2052fac20aabcc" providerId="LiveId" clId="{CF54C7B0-0C24-437E-AEC1-F774AC07306D}" dt="2023-10-12T14:55:23.615" v="1405" actId="2696"/>
          <pc:sldLayoutMkLst>
            <pc:docMk/>
            <pc:sldMasterMk cId="4246037650" sldId="2147483660"/>
            <pc:sldLayoutMk cId="3947619191" sldId="2147483707"/>
          </pc:sldLayoutMkLst>
        </pc:sldLayoutChg>
      </pc:sldMasterChg>
    </pc:docChg>
  </pc:docChgLst>
  <pc:docChgLst>
    <pc:chgData name="Bonilla, LeaMarta" userId="aa5362c7-0476-4c50-b52f-35c2791cd063" providerId="ADAL" clId="{52AC969F-9E0C-0344-AD0F-5C4FF33F39EA}"/>
    <pc:docChg chg="modSld">
      <pc:chgData name="Bonilla, LeaMarta" userId="aa5362c7-0476-4c50-b52f-35c2791cd063" providerId="ADAL" clId="{52AC969F-9E0C-0344-AD0F-5C4FF33F39EA}" dt="2023-10-19T18:10:46.357" v="1" actId="1076"/>
      <pc:docMkLst>
        <pc:docMk/>
      </pc:docMkLst>
      <pc:sldChg chg="modSp mod">
        <pc:chgData name="Bonilla, LeaMarta" userId="aa5362c7-0476-4c50-b52f-35c2791cd063" providerId="ADAL" clId="{52AC969F-9E0C-0344-AD0F-5C4FF33F39EA}" dt="2023-10-19T18:10:46.357" v="1" actId="1076"/>
        <pc:sldMkLst>
          <pc:docMk/>
          <pc:sldMk cId="2404479511" sldId="1530"/>
        </pc:sldMkLst>
        <pc:spChg chg="mod">
          <ac:chgData name="Bonilla, LeaMarta" userId="aa5362c7-0476-4c50-b52f-35c2791cd063" providerId="ADAL" clId="{52AC969F-9E0C-0344-AD0F-5C4FF33F39EA}" dt="2023-10-19T18:10:46.357" v="1" actId="1076"/>
          <ac:spMkLst>
            <pc:docMk/>
            <pc:sldMk cId="2404479511" sldId="1530"/>
            <ac:spMk id="2" creationId="{C36256A2-67B2-CA01-7417-6A9C17C6B307}"/>
          </ac:spMkLst>
        </pc:spChg>
      </pc:sldChg>
    </pc:docChg>
  </pc:docChgLst>
  <pc:docChgLst>
    <pc:chgData name="Buchegger, Dominik" userId="4419538d-6150-464b-ac11-eb0323261855" providerId="ADAL" clId="{B5BB4626-E023-CE44-8A56-9956CDE793D4}"/>
    <pc:docChg chg="modSld">
      <pc:chgData name="Buchegger, Dominik" userId="4419538d-6150-464b-ac11-eb0323261855" providerId="ADAL" clId="{B5BB4626-E023-CE44-8A56-9956CDE793D4}" dt="2023-10-19T09:31:19.938" v="11" actId="20577"/>
      <pc:docMkLst>
        <pc:docMk/>
      </pc:docMkLst>
      <pc:sldChg chg="modSp">
        <pc:chgData name="Buchegger, Dominik" userId="4419538d-6150-464b-ac11-eb0323261855" providerId="ADAL" clId="{B5BB4626-E023-CE44-8A56-9956CDE793D4}" dt="2023-10-19T09:31:19.938" v="11" actId="20577"/>
        <pc:sldMkLst>
          <pc:docMk/>
          <pc:sldMk cId="56286098" sldId="1515"/>
        </pc:sldMkLst>
        <pc:spChg chg="mod">
          <ac:chgData name="Buchegger, Dominik" userId="4419538d-6150-464b-ac11-eb0323261855" providerId="ADAL" clId="{B5BB4626-E023-CE44-8A56-9956CDE793D4}" dt="2023-10-19T09:31:19.938" v="11" actId="20577"/>
          <ac:spMkLst>
            <pc:docMk/>
            <pc:sldMk cId="56286098" sldId="1515"/>
            <ac:spMk id="12" creationId="{CBE07849-60E6-8476-69FC-A0231FCD6924}"/>
          </ac:spMkLst>
        </pc:spChg>
      </pc:sldChg>
    </pc:docChg>
  </pc:docChgLst>
  <pc:docChgLst>
    <pc:chgData name="Aier, Stephan" userId="c09b466c-35db-4ee9-9b0d-db06883c916e" providerId="ADAL" clId="{67E2FF80-CC72-7645-A9A0-070F9D5F63BB}"/>
    <pc:docChg chg="modSld">
      <pc:chgData name="Aier, Stephan" userId="c09b466c-35db-4ee9-9b0d-db06883c916e" providerId="ADAL" clId="{67E2FF80-CC72-7645-A9A0-070F9D5F63BB}" dt="2023-10-17T21:23:27.468" v="2" actId="20577"/>
      <pc:docMkLst>
        <pc:docMk/>
      </pc:docMkLst>
      <pc:sldChg chg="modSp mod">
        <pc:chgData name="Aier, Stephan" userId="c09b466c-35db-4ee9-9b0d-db06883c916e" providerId="ADAL" clId="{67E2FF80-CC72-7645-A9A0-070F9D5F63BB}" dt="2023-10-17T21:23:27.468" v="2" actId="20577"/>
        <pc:sldMkLst>
          <pc:docMk/>
          <pc:sldMk cId="521713259" sldId="3264"/>
        </pc:sldMkLst>
        <pc:spChg chg="mod">
          <ac:chgData name="Aier, Stephan" userId="c09b466c-35db-4ee9-9b0d-db06883c916e" providerId="ADAL" clId="{67E2FF80-CC72-7645-A9A0-070F9D5F63BB}" dt="2023-10-17T21:23:27.468" v="2" actId="20577"/>
          <ac:spMkLst>
            <pc:docMk/>
            <pc:sldMk cId="521713259" sldId="3264"/>
            <ac:spMk id="7" creationId="{CBBBA228-5706-DC04-E067-BD5B530797DD}"/>
          </ac:spMkLst>
        </pc:spChg>
      </pc:sldChg>
    </pc:docChg>
  </pc:docChgLst>
  <pc:docChgLst>
    <pc:chgData name="Dominik Buchegger" userId="7f2052fac20aabcc" providerId="LiveId" clId="{D0DA51BD-8CEA-4325-A028-E6667CE8C151}"/>
    <pc:docChg chg="addSld modSld">
      <pc:chgData name="Dominik Buchegger" userId="7f2052fac20aabcc" providerId="LiveId" clId="{D0DA51BD-8CEA-4325-A028-E6667CE8C151}" dt="2023-10-20T06:46:07.381" v="11" actId="6549"/>
      <pc:docMkLst>
        <pc:docMk/>
      </pc:docMkLst>
      <pc:sldChg chg="modSp add mod">
        <pc:chgData name="Dominik Buchegger" userId="7f2052fac20aabcc" providerId="LiveId" clId="{D0DA51BD-8CEA-4325-A028-E6667CE8C151}" dt="2023-10-20T06:46:07.381" v="11" actId="6549"/>
        <pc:sldMkLst>
          <pc:docMk/>
          <pc:sldMk cId="2299432622" sldId="1499"/>
        </pc:sldMkLst>
        <pc:spChg chg="mod">
          <ac:chgData name="Dominik Buchegger" userId="7f2052fac20aabcc" providerId="LiveId" clId="{D0DA51BD-8CEA-4325-A028-E6667CE8C151}" dt="2023-10-20T06:46:07.381" v="11" actId="6549"/>
          <ac:spMkLst>
            <pc:docMk/>
            <pc:sldMk cId="2299432622" sldId="1499"/>
            <ac:spMk id="2" creationId="{76EA407A-0B5B-9B6F-C9D4-877962AE18C5}"/>
          </ac:spMkLst>
        </pc:spChg>
      </pc:sldChg>
    </pc:docChg>
  </pc:docChgLst>
  <pc:docChgLst>
    <pc:chgData name="Buchegger, Dominik" userId="4419538d-6150-464b-ac11-eb0323261855" providerId="ADAL" clId="{4FF7FC10-9C95-42E5-ADC4-B637B56793B6}"/>
    <pc:docChg chg="undo redo custSel addSld delSld modSld sldOrd">
      <pc:chgData name="Buchegger, Dominik" userId="4419538d-6150-464b-ac11-eb0323261855" providerId="ADAL" clId="{4FF7FC10-9C95-42E5-ADC4-B637B56793B6}" dt="2023-10-02T12:02:17.781" v="2643" actId="20577"/>
      <pc:docMkLst>
        <pc:docMk/>
      </pc:docMkLst>
      <pc:sldChg chg="addSp delSp add del mod">
        <pc:chgData name="Buchegger, Dominik" userId="4419538d-6150-464b-ac11-eb0323261855" providerId="ADAL" clId="{4FF7FC10-9C95-42E5-ADC4-B637B56793B6}" dt="2023-10-02T09:44:34.380" v="2070" actId="47"/>
        <pc:sldMkLst>
          <pc:docMk/>
          <pc:sldMk cId="3772496692" sldId="256"/>
        </pc:sldMkLst>
        <pc:spChg chg="add del">
          <ac:chgData name="Buchegger, Dominik" userId="4419538d-6150-464b-ac11-eb0323261855" providerId="ADAL" clId="{4FF7FC10-9C95-42E5-ADC4-B637B56793B6}" dt="2023-10-02T08:57:56.359" v="51" actId="22"/>
          <ac:spMkLst>
            <pc:docMk/>
            <pc:sldMk cId="3772496692" sldId="256"/>
            <ac:spMk id="3" creationId="{05F32230-0D3F-0D56-D477-4D42E7C0C5CD}"/>
          </ac:spMkLst>
        </pc:spChg>
      </pc:sldChg>
      <pc:sldChg chg="addSp delSp modSp add del mod ord">
        <pc:chgData name="Buchegger, Dominik" userId="4419538d-6150-464b-ac11-eb0323261855" providerId="ADAL" clId="{4FF7FC10-9C95-42E5-ADC4-B637B56793B6}" dt="2023-10-02T09:51:09.913" v="2351" actId="1076"/>
        <pc:sldMkLst>
          <pc:docMk/>
          <pc:sldMk cId="2038474157" sldId="266"/>
        </pc:sldMkLst>
        <pc:spChg chg="mod">
          <ac:chgData name="Buchegger, Dominik" userId="4419538d-6150-464b-ac11-eb0323261855" providerId="ADAL" clId="{4FF7FC10-9C95-42E5-ADC4-B637B56793B6}" dt="2023-10-02T09:49:11.146" v="2235" actId="20577"/>
          <ac:spMkLst>
            <pc:docMk/>
            <pc:sldMk cId="2038474157" sldId="266"/>
            <ac:spMk id="3" creationId="{6498F447-A2CB-459E-9001-15E6D0525E11}"/>
          </ac:spMkLst>
        </pc:spChg>
        <pc:spChg chg="add del">
          <ac:chgData name="Buchegger, Dominik" userId="4419538d-6150-464b-ac11-eb0323261855" providerId="ADAL" clId="{4FF7FC10-9C95-42E5-ADC4-B637B56793B6}" dt="2023-10-02T09:49:50.633" v="2237" actId="478"/>
          <ac:spMkLst>
            <pc:docMk/>
            <pc:sldMk cId="2038474157" sldId="266"/>
            <ac:spMk id="5" creationId="{3ADE48B1-8A59-65CA-AF0D-5C17CC144B43}"/>
          </ac:spMkLst>
        </pc:spChg>
        <pc:spChg chg="add mod">
          <ac:chgData name="Buchegger, Dominik" userId="4419538d-6150-464b-ac11-eb0323261855" providerId="ADAL" clId="{4FF7FC10-9C95-42E5-ADC4-B637B56793B6}" dt="2023-10-02T09:51:09.913" v="2351" actId="1076"/>
          <ac:spMkLst>
            <pc:docMk/>
            <pc:sldMk cId="2038474157" sldId="266"/>
            <ac:spMk id="6" creationId="{A9BC3CDB-3A9A-9D37-7701-124557927011}"/>
          </ac:spMkLst>
        </pc:spChg>
      </pc:sldChg>
      <pc:sldChg chg="delSp modSp add del mod">
        <pc:chgData name="Buchegger, Dominik" userId="4419538d-6150-464b-ac11-eb0323261855" providerId="ADAL" clId="{4FF7FC10-9C95-42E5-ADC4-B637B56793B6}" dt="2023-10-02T09:28:51.270" v="2025" actId="47"/>
        <pc:sldMkLst>
          <pc:docMk/>
          <pc:sldMk cId="1336951803" sldId="295"/>
        </pc:sldMkLst>
        <pc:spChg chg="mod">
          <ac:chgData name="Buchegger, Dominik" userId="4419538d-6150-464b-ac11-eb0323261855" providerId="ADAL" clId="{4FF7FC10-9C95-42E5-ADC4-B637B56793B6}" dt="2023-10-02T09:05:13.229" v="531" actId="27636"/>
          <ac:spMkLst>
            <pc:docMk/>
            <pc:sldMk cId="1336951803" sldId="295"/>
            <ac:spMk id="3" creationId="{33B68892-FB89-F8DF-E1B4-37B6BFC2A06F}"/>
          </ac:spMkLst>
        </pc:spChg>
        <pc:picChg chg="del">
          <ac:chgData name="Buchegger, Dominik" userId="4419538d-6150-464b-ac11-eb0323261855" providerId="ADAL" clId="{4FF7FC10-9C95-42E5-ADC4-B637B56793B6}" dt="2023-10-02T09:05:16.009" v="532" actId="21"/>
          <ac:picMkLst>
            <pc:docMk/>
            <pc:sldMk cId="1336951803" sldId="295"/>
            <ac:picMk id="6" creationId="{0B10A800-89D7-4FF5-AD0A-1DE96FCD719B}"/>
          </ac:picMkLst>
        </pc:picChg>
        <pc:picChg chg="del">
          <ac:chgData name="Buchegger, Dominik" userId="4419538d-6150-464b-ac11-eb0323261855" providerId="ADAL" clId="{4FF7FC10-9C95-42E5-ADC4-B637B56793B6}" dt="2023-10-02T09:05:16.009" v="532" actId="21"/>
          <ac:picMkLst>
            <pc:docMk/>
            <pc:sldMk cId="1336951803" sldId="295"/>
            <ac:picMk id="7" creationId="{175BFE36-0F30-4742-9E25-6A5B567030A1}"/>
          </ac:picMkLst>
        </pc:picChg>
      </pc:sldChg>
      <pc:sldChg chg="modSp add del mod ord">
        <pc:chgData name="Buchegger, Dominik" userId="4419538d-6150-464b-ac11-eb0323261855" providerId="ADAL" clId="{4FF7FC10-9C95-42E5-ADC4-B637B56793B6}" dt="2023-10-02T11:19:35.493" v="2602" actId="20577"/>
        <pc:sldMkLst>
          <pc:docMk/>
          <pc:sldMk cId="247457547" sldId="393"/>
        </pc:sldMkLst>
        <pc:spChg chg="mod">
          <ac:chgData name="Buchegger, Dominik" userId="4419538d-6150-464b-ac11-eb0323261855" providerId="ADAL" clId="{4FF7FC10-9C95-42E5-ADC4-B637B56793B6}" dt="2023-10-02T11:19:35.493" v="2602" actId="20577"/>
          <ac:spMkLst>
            <pc:docMk/>
            <pc:sldMk cId="247457547" sldId="393"/>
            <ac:spMk id="2" creationId="{B5FA2CA2-50EE-C871-6D67-9F76FD616200}"/>
          </ac:spMkLst>
        </pc:spChg>
        <pc:spChg chg="mod">
          <ac:chgData name="Buchegger, Dominik" userId="4419538d-6150-464b-ac11-eb0323261855" providerId="ADAL" clId="{4FF7FC10-9C95-42E5-ADC4-B637B56793B6}" dt="2023-10-02T09:44:30.535" v="2069" actId="27636"/>
          <ac:spMkLst>
            <pc:docMk/>
            <pc:sldMk cId="247457547" sldId="393"/>
            <ac:spMk id="3" creationId="{B09AEC1E-FF05-493B-9B3A-EE5218175A34}"/>
          </ac:spMkLst>
        </pc:spChg>
        <pc:spChg chg="mod">
          <ac:chgData name="Buchegger, Dominik" userId="4419538d-6150-464b-ac11-eb0323261855" providerId="ADAL" clId="{4FF7FC10-9C95-42E5-ADC4-B637B56793B6}" dt="2023-10-02T09:53:47.521" v="2393" actId="20577"/>
          <ac:spMkLst>
            <pc:docMk/>
            <pc:sldMk cId="247457547" sldId="393"/>
            <ac:spMk id="40" creationId="{63B31A7C-3CF8-8A0D-6EA2-B58492C727E7}"/>
          </ac:spMkLst>
        </pc:spChg>
        <pc:spChg chg="mod">
          <ac:chgData name="Buchegger, Dominik" userId="4419538d-6150-464b-ac11-eb0323261855" providerId="ADAL" clId="{4FF7FC10-9C95-42E5-ADC4-B637B56793B6}" dt="2023-10-02T09:53:35.707" v="2389" actId="1076"/>
          <ac:spMkLst>
            <pc:docMk/>
            <pc:sldMk cId="247457547" sldId="393"/>
            <ac:spMk id="41" creationId="{DCA0CEA9-6CD7-4E0A-C17E-F9838EBF7026}"/>
          </ac:spMkLst>
        </pc:spChg>
        <pc:spChg chg="mod">
          <ac:chgData name="Buchegger, Dominik" userId="4419538d-6150-464b-ac11-eb0323261855" providerId="ADAL" clId="{4FF7FC10-9C95-42E5-ADC4-B637B56793B6}" dt="2023-10-02T09:51:57.168" v="2354" actId="208"/>
          <ac:spMkLst>
            <pc:docMk/>
            <pc:sldMk cId="247457547" sldId="393"/>
            <ac:spMk id="42" creationId="{89D35C59-55F7-363A-C9A8-890ADE7B9BA7}"/>
          </ac:spMkLst>
        </pc:spChg>
      </pc:sldChg>
      <pc:sldChg chg="addSp delSp modSp add del mod ord modClrScheme chgLayout">
        <pc:chgData name="Buchegger, Dominik" userId="4419538d-6150-464b-ac11-eb0323261855" providerId="ADAL" clId="{4FF7FC10-9C95-42E5-ADC4-B637B56793B6}" dt="2023-10-02T11:13:43.063" v="2438" actId="1076"/>
        <pc:sldMkLst>
          <pc:docMk/>
          <pc:sldMk cId="1497874562" sldId="396"/>
        </pc:sldMkLst>
        <pc:spChg chg="add del mod or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2" creationId="{B5FA2CA2-50EE-C871-6D67-9F76FD616200}"/>
          </ac:spMkLst>
        </pc:spChg>
        <pc:spChg chg="add del mo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3" creationId="{7E2DE2DB-D097-D670-8828-6EF047FBBBC0}"/>
          </ac:spMkLst>
        </pc:spChg>
        <pc:spChg chg="add del mo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4" creationId="{50D65C1A-0D08-ED9C-8CD6-0313D737D350}"/>
          </ac:spMkLst>
        </pc:spChg>
        <pc:spChg chg="add del mod">
          <ac:chgData name="Buchegger, Dominik" userId="4419538d-6150-464b-ac11-eb0323261855" providerId="ADAL" clId="{4FF7FC10-9C95-42E5-ADC4-B637B56793B6}" dt="2023-10-02T11:13:43.063" v="2438" actId="1076"/>
          <ac:spMkLst>
            <pc:docMk/>
            <pc:sldMk cId="1497874562" sldId="396"/>
            <ac:spMk id="6" creationId="{0FB632C0-763D-3CB2-294A-A4831DA46E1E}"/>
          </ac:spMkLst>
        </pc:spChg>
        <pc:spChg chg="add del mod">
          <ac:chgData name="Buchegger, Dominik" userId="4419538d-6150-464b-ac11-eb0323261855" providerId="ADAL" clId="{4FF7FC10-9C95-42E5-ADC4-B637B56793B6}" dt="2023-10-02T11:13:18.968" v="2425" actId="571"/>
          <ac:spMkLst>
            <pc:docMk/>
            <pc:sldMk cId="1497874562" sldId="396"/>
            <ac:spMk id="7" creationId="{C5B3BC8B-2989-9305-0F3C-0F8F215FF23F}"/>
          </ac:spMkLst>
        </pc:spChg>
        <pc:spChg chg="add del mod or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8" creationId="{56F02FC4-56A8-D2E3-7F3C-B62A72867588}"/>
          </ac:spMkLst>
        </pc:spChg>
        <pc:spChg chg="add del mod or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10" creationId="{C9BBD477-9D88-DD33-206F-7C03AFE553A6}"/>
          </ac:spMkLst>
        </pc:spChg>
        <pc:spChg chg="add del mo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11" creationId="{07B78568-A8A9-029E-92AA-68902147B027}"/>
          </ac:spMkLst>
        </pc:spChg>
        <pc:spChg chg="add del mo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14" creationId="{5F247413-1894-A27E-DC38-E416A93C0502}"/>
          </ac:spMkLst>
        </pc:spChg>
        <pc:spChg chg="add del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24" creationId="{716D88DA-FD9A-C808-D70D-C9E402881A9C}"/>
          </ac:spMkLst>
        </pc:spChg>
        <pc:spChg chg="add del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25" creationId="{A650D962-6A17-A6A7-0AB6-BDC7843677F5}"/>
          </ac:spMkLst>
        </pc:sp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13" creationId="{E2571BEE-2F9E-E532-EBB5-7F7E9360F899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15" creationId="{1869F98A-D22B-DC66-8D52-3709D8CEC67A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17" creationId="{FE014C82-1310-BE92-6D59-CF18FC176676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19" creationId="{03D13C65-8153-E5B1-9517-990908D90739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21" creationId="{B956D91E-9B56-FB43-C526-AB490789AAE8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23" creationId="{0B97A9EB-F064-5609-1EA4-DE928CB71896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27" creationId="{825B737D-92A6-BE83-9B58-6146F9B26FF3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29" creationId="{BF529FEA-B98C-50D3-D8F1-993D460DE734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31" creationId="{5E6D9F93-F884-9AE3-DE13-EF59DE44DD37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33" creationId="{E4F99009-DA93-2632-4759-566A589B5CF2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35" creationId="{999877C5-982F-F94C-D644-04169A70699A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37" creationId="{B41A1FE5-4554-48F4-9A36-46482F188539}"/>
          </ac:picMkLst>
        </pc:picChg>
      </pc:sldChg>
      <pc:sldChg chg="add del">
        <pc:chgData name="Buchegger, Dominik" userId="4419538d-6150-464b-ac11-eb0323261855" providerId="ADAL" clId="{4FF7FC10-9C95-42E5-ADC4-B637B56793B6}" dt="2023-10-02T09:44:39.198" v="2071" actId="47"/>
        <pc:sldMkLst>
          <pc:docMk/>
          <pc:sldMk cId="2946332310" sldId="1460"/>
        </pc:sldMkLst>
      </pc:sldChg>
      <pc:sldChg chg="modSp mod">
        <pc:chgData name="Buchegger, Dominik" userId="4419538d-6150-464b-ac11-eb0323261855" providerId="ADAL" clId="{4FF7FC10-9C95-42E5-ADC4-B637B56793B6}" dt="2023-10-02T12:02:17.781" v="2643" actId="20577"/>
        <pc:sldMkLst>
          <pc:docMk/>
          <pc:sldMk cId="3108777804" sldId="1465"/>
        </pc:sldMkLst>
        <pc:spChg chg="mod">
          <ac:chgData name="Buchegger, Dominik" userId="4419538d-6150-464b-ac11-eb0323261855" providerId="ADAL" clId="{4FF7FC10-9C95-42E5-ADC4-B637B56793B6}" dt="2023-10-02T12:02:17.781" v="2643" actId="20577"/>
          <ac:spMkLst>
            <pc:docMk/>
            <pc:sldMk cId="3108777804" sldId="1465"/>
            <ac:spMk id="2" creationId="{C36256A2-67B2-CA01-7417-6A9C17C6B307}"/>
          </ac:spMkLst>
        </pc:spChg>
      </pc:sldChg>
      <pc:sldChg chg="modSp add del mod">
        <pc:chgData name="Buchegger, Dominik" userId="4419538d-6150-464b-ac11-eb0323261855" providerId="ADAL" clId="{4FF7FC10-9C95-42E5-ADC4-B637B56793B6}" dt="2023-10-02T09:28:49.826" v="2024" actId="47"/>
        <pc:sldMkLst>
          <pc:docMk/>
          <pc:sldMk cId="2022717371" sldId="1472"/>
        </pc:sldMkLst>
        <pc:spChg chg="mod">
          <ac:chgData name="Buchegger, Dominik" userId="4419538d-6150-464b-ac11-eb0323261855" providerId="ADAL" clId="{4FF7FC10-9C95-42E5-ADC4-B637B56793B6}" dt="2023-10-02T09:14:17.305" v="1033" actId="21"/>
          <ac:spMkLst>
            <pc:docMk/>
            <pc:sldMk cId="2022717371" sldId="1472"/>
            <ac:spMk id="3" creationId="{5D37AF8A-55B3-7578-737B-04B1AAEB7E6C}"/>
          </ac:spMkLst>
        </pc:spChg>
      </pc:sldChg>
      <pc:sldChg chg="add del">
        <pc:chgData name="Buchegger, Dominik" userId="4419538d-6150-464b-ac11-eb0323261855" providerId="ADAL" clId="{4FF7FC10-9C95-42E5-ADC4-B637B56793B6}" dt="2023-10-02T09:44:45.572" v="2076" actId="47"/>
        <pc:sldMkLst>
          <pc:docMk/>
          <pc:sldMk cId="3803946721" sldId="1479"/>
        </pc:sldMkLst>
      </pc:sldChg>
      <pc:sldChg chg="add del">
        <pc:chgData name="Buchegger, Dominik" userId="4419538d-6150-464b-ac11-eb0323261855" providerId="ADAL" clId="{4FF7FC10-9C95-42E5-ADC4-B637B56793B6}" dt="2023-10-02T09:44:47.360" v="2077" actId="47"/>
        <pc:sldMkLst>
          <pc:docMk/>
          <pc:sldMk cId="2447692118" sldId="1480"/>
        </pc:sldMkLst>
      </pc:sldChg>
      <pc:sldChg chg="add del">
        <pc:chgData name="Buchegger, Dominik" userId="4419538d-6150-464b-ac11-eb0323261855" providerId="ADAL" clId="{4FF7FC10-9C95-42E5-ADC4-B637B56793B6}" dt="2023-10-02T09:44:48.757" v="2078" actId="47"/>
        <pc:sldMkLst>
          <pc:docMk/>
          <pc:sldMk cId="4186105341" sldId="1481"/>
        </pc:sldMkLst>
      </pc:sldChg>
      <pc:sldChg chg="add del">
        <pc:chgData name="Buchegger, Dominik" userId="4419538d-6150-464b-ac11-eb0323261855" providerId="ADAL" clId="{4FF7FC10-9C95-42E5-ADC4-B637B56793B6}" dt="2023-10-02T09:44:49.992" v="2079" actId="47"/>
        <pc:sldMkLst>
          <pc:docMk/>
          <pc:sldMk cId="526965398" sldId="1483"/>
        </pc:sldMkLst>
      </pc:sldChg>
      <pc:sldChg chg="add del">
        <pc:chgData name="Buchegger, Dominik" userId="4419538d-6150-464b-ac11-eb0323261855" providerId="ADAL" clId="{4FF7FC10-9C95-42E5-ADC4-B637B56793B6}" dt="2023-10-02T09:45:39.978" v="2084" actId="47"/>
        <pc:sldMkLst>
          <pc:docMk/>
          <pc:sldMk cId="427071455" sldId="1484"/>
        </pc:sldMkLst>
      </pc:sldChg>
      <pc:sldChg chg="add del">
        <pc:chgData name="Buchegger, Dominik" userId="4419538d-6150-464b-ac11-eb0323261855" providerId="ADAL" clId="{4FF7FC10-9C95-42E5-ADC4-B637B56793B6}" dt="2023-10-02T09:44:42.056" v="2073" actId="47"/>
        <pc:sldMkLst>
          <pc:docMk/>
          <pc:sldMk cId="2119959366" sldId="1486"/>
        </pc:sldMkLst>
      </pc:sldChg>
      <pc:sldChg chg="add del">
        <pc:chgData name="Buchegger, Dominik" userId="4419538d-6150-464b-ac11-eb0323261855" providerId="ADAL" clId="{4FF7FC10-9C95-42E5-ADC4-B637B56793B6}" dt="2023-10-02T09:44:44.410" v="2075" actId="47"/>
        <pc:sldMkLst>
          <pc:docMk/>
          <pc:sldMk cId="1460366872" sldId="1487"/>
        </pc:sldMkLst>
      </pc:sldChg>
      <pc:sldChg chg="modSp mod">
        <pc:chgData name="Buchegger, Dominik" userId="4419538d-6150-464b-ac11-eb0323261855" providerId="ADAL" clId="{4FF7FC10-9C95-42E5-ADC4-B637B56793B6}" dt="2023-10-02T09:56:13.841" v="2394" actId="20577"/>
        <pc:sldMkLst>
          <pc:docMk/>
          <pc:sldMk cId="3964502424" sldId="1488"/>
        </pc:sldMkLst>
        <pc:spChg chg="mod">
          <ac:chgData name="Buchegger, Dominik" userId="4419538d-6150-464b-ac11-eb0323261855" providerId="ADAL" clId="{4FF7FC10-9C95-42E5-ADC4-B637B56793B6}" dt="2023-10-02T09:56:13.841" v="2394" actId="20577"/>
          <ac:spMkLst>
            <pc:docMk/>
            <pc:sldMk cId="3964502424" sldId="1488"/>
            <ac:spMk id="3" creationId="{89400F98-A9D9-5712-5792-C9458730B3A8}"/>
          </ac:spMkLst>
        </pc:spChg>
      </pc:sldChg>
      <pc:sldChg chg="modSp mod">
        <pc:chgData name="Buchegger, Dominik" userId="4419538d-6150-464b-ac11-eb0323261855" providerId="ADAL" clId="{4FF7FC10-9C95-42E5-ADC4-B637B56793B6}" dt="2023-10-02T09:57:10.469" v="2395" actId="5793"/>
        <pc:sldMkLst>
          <pc:docMk/>
          <pc:sldMk cId="3279543381" sldId="1489"/>
        </pc:sldMkLst>
        <pc:spChg chg="mod">
          <ac:chgData name="Buchegger, Dominik" userId="4419538d-6150-464b-ac11-eb0323261855" providerId="ADAL" clId="{4FF7FC10-9C95-42E5-ADC4-B637B56793B6}" dt="2023-10-02T09:57:10.469" v="2395" actId="5793"/>
          <ac:spMkLst>
            <pc:docMk/>
            <pc:sldMk cId="3279543381" sldId="1489"/>
            <ac:spMk id="7" creationId="{21CF3799-A348-4201-512C-AE72CD6CBDBC}"/>
          </ac:spMkLst>
        </pc:spChg>
      </pc:sldChg>
      <pc:sldChg chg="modSp mod">
        <pc:chgData name="Buchegger, Dominik" userId="4419538d-6150-464b-ac11-eb0323261855" providerId="ADAL" clId="{4FF7FC10-9C95-42E5-ADC4-B637B56793B6}" dt="2023-10-02T09:57:14.392" v="2396" actId="5793"/>
        <pc:sldMkLst>
          <pc:docMk/>
          <pc:sldMk cId="2372438867" sldId="1490"/>
        </pc:sldMkLst>
        <pc:spChg chg="mod">
          <ac:chgData name="Buchegger, Dominik" userId="4419538d-6150-464b-ac11-eb0323261855" providerId="ADAL" clId="{4FF7FC10-9C95-42E5-ADC4-B637B56793B6}" dt="2023-10-02T09:57:14.392" v="2396" actId="5793"/>
          <ac:spMkLst>
            <pc:docMk/>
            <pc:sldMk cId="2372438867" sldId="1490"/>
            <ac:spMk id="7" creationId="{21CF3799-A348-4201-512C-AE72CD6CBDBC}"/>
          </ac:spMkLst>
        </pc:spChg>
      </pc:sldChg>
      <pc:sldChg chg="modSp mod">
        <pc:chgData name="Buchegger, Dominik" userId="4419538d-6150-464b-ac11-eb0323261855" providerId="ADAL" clId="{4FF7FC10-9C95-42E5-ADC4-B637B56793B6}" dt="2023-10-02T11:18:01.251" v="2575" actId="20577"/>
        <pc:sldMkLst>
          <pc:docMk/>
          <pc:sldMk cId="2879652387" sldId="1491"/>
        </pc:sldMkLst>
        <pc:spChg chg="mod">
          <ac:chgData name="Buchegger, Dominik" userId="4419538d-6150-464b-ac11-eb0323261855" providerId="ADAL" clId="{4FF7FC10-9C95-42E5-ADC4-B637B56793B6}" dt="2023-10-02T11:18:01.251" v="2575" actId="20577"/>
          <ac:spMkLst>
            <pc:docMk/>
            <pc:sldMk cId="2879652387" sldId="1491"/>
            <ac:spMk id="7" creationId="{21CF3799-A348-4201-512C-AE72CD6CBDBC}"/>
          </ac:spMkLst>
        </pc:spChg>
      </pc:sldChg>
      <pc:sldChg chg="modSp add mod">
        <pc:chgData name="Buchegger, Dominik" userId="4419538d-6150-464b-ac11-eb0323261855" providerId="ADAL" clId="{4FF7FC10-9C95-42E5-ADC4-B637B56793B6}" dt="2023-10-02T09:28:44.866" v="2023" actId="113"/>
        <pc:sldMkLst>
          <pc:docMk/>
          <pc:sldMk cId="1352991866" sldId="1492"/>
        </pc:sldMkLst>
        <pc:spChg chg="mod">
          <ac:chgData name="Buchegger, Dominik" userId="4419538d-6150-464b-ac11-eb0323261855" providerId="ADAL" clId="{4FF7FC10-9C95-42E5-ADC4-B637B56793B6}" dt="2023-10-02T08:58:43.714" v="70" actId="20577"/>
          <ac:spMkLst>
            <pc:docMk/>
            <pc:sldMk cId="1352991866" sldId="1492"/>
            <ac:spMk id="3" creationId="{811F6EC9-ECF3-006B-D232-CFD08585C842}"/>
          </ac:spMkLst>
        </pc:spChg>
        <pc:spChg chg="mod">
          <ac:chgData name="Buchegger, Dominik" userId="4419538d-6150-464b-ac11-eb0323261855" providerId="ADAL" clId="{4FF7FC10-9C95-42E5-ADC4-B637B56793B6}" dt="2023-10-02T09:28:44.866" v="2023" actId="113"/>
          <ac:spMkLst>
            <pc:docMk/>
            <pc:sldMk cId="1352991866" sldId="1492"/>
            <ac:spMk id="8" creationId="{E0EB712D-88FF-652F-AD07-EBE500FC8B72}"/>
          </ac:spMkLst>
        </pc:spChg>
        <pc:spChg chg="mod">
          <ac:chgData name="Buchegger, Dominik" userId="4419538d-6150-464b-ac11-eb0323261855" providerId="ADAL" clId="{4FF7FC10-9C95-42E5-ADC4-B637B56793B6}" dt="2023-10-02T09:19:23.847" v="1638" actId="114"/>
          <ac:spMkLst>
            <pc:docMk/>
            <pc:sldMk cId="1352991866" sldId="1492"/>
            <ac:spMk id="9" creationId="{59B53215-B6F1-5EC0-B1AC-A12EE89612BE}"/>
          </ac:spMkLst>
        </pc:spChg>
      </pc:sldChg>
      <pc:sldChg chg="ord">
        <pc:chgData name="Buchegger, Dominik" userId="4419538d-6150-464b-ac11-eb0323261855" providerId="ADAL" clId="{4FF7FC10-9C95-42E5-ADC4-B637B56793B6}" dt="2023-10-02T11:19:14.456" v="2587"/>
        <pc:sldMkLst>
          <pc:docMk/>
          <pc:sldMk cId="1037963299" sldId="1494"/>
        </pc:sldMkLst>
      </pc:sldChg>
      <pc:sldChg chg="ord">
        <pc:chgData name="Buchegger, Dominik" userId="4419538d-6150-464b-ac11-eb0323261855" providerId="ADAL" clId="{4FF7FC10-9C95-42E5-ADC4-B637B56793B6}" dt="2023-10-02T11:18:50.616" v="2581"/>
        <pc:sldMkLst>
          <pc:docMk/>
          <pc:sldMk cId="1744814320" sldId="1495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614593408" sldId="1498"/>
        </pc:sldMkLst>
      </pc:sldChg>
      <pc:sldChg chg="add del">
        <pc:chgData name="Buchegger, Dominik" userId="4419538d-6150-464b-ac11-eb0323261855" providerId="ADAL" clId="{4FF7FC10-9C95-42E5-ADC4-B637B56793B6}" dt="2023-10-02T09:45:29.620" v="2082" actId="47"/>
        <pc:sldMkLst>
          <pc:docMk/>
          <pc:sldMk cId="746759708" sldId="1498"/>
        </pc:sldMkLst>
      </pc:sldChg>
      <pc:sldChg chg="add del">
        <pc:chgData name="Buchegger, Dominik" userId="4419538d-6150-464b-ac11-eb0323261855" providerId="ADAL" clId="{4FF7FC10-9C95-42E5-ADC4-B637B56793B6}" dt="2023-10-02T09:46:00.899" v="2089" actId="47"/>
        <pc:sldMkLst>
          <pc:docMk/>
          <pc:sldMk cId="1753810788" sldId="1499"/>
        </pc:sldMkLst>
      </pc:sldChg>
      <pc:sldChg chg="delSp add del mod ord">
        <pc:chgData name="Buchegger, Dominik" userId="4419538d-6150-464b-ac11-eb0323261855" providerId="ADAL" clId="{4FF7FC10-9C95-42E5-ADC4-B637B56793B6}" dt="2023-10-02T09:46:19.300" v="2093" actId="47"/>
        <pc:sldMkLst>
          <pc:docMk/>
          <pc:sldMk cId="1198666552" sldId="1500"/>
        </pc:sldMkLst>
        <pc:picChg chg="del">
          <ac:chgData name="Buchegger, Dominik" userId="4419538d-6150-464b-ac11-eb0323261855" providerId="ADAL" clId="{4FF7FC10-9C95-42E5-ADC4-B637B56793B6}" dt="2023-09-25T13:41:19.921" v="28" actId="21"/>
          <ac:picMkLst>
            <pc:docMk/>
            <pc:sldMk cId="1198666552" sldId="1500"/>
            <ac:picMk id="7" creationId="{C130C8B6-0521-B5EB-5AF6-FC245ABBB8E2}"/>
          </ac:picMkLst>
        </pc:picChg>
      </pc:sldChg>
      <pc:sldChg chg="addSp delSp modSp add del mod ord">
        <pc:chgData name="Buchegger, Dominik" userId="4419538d-6150-464b-ac11-eb0323261855" providerId="ADAL" clId="{4FF7FC10-9C95-42E5-ADC4-B637B56793B6}" dt="2023-10-02T11:19:55.852" v="2604"/>
        <pc:sldMkLst>
          <pc:docMk/>
          <pc:sldMk cId="2360417348" sldId="1501"/>
        </pc:sldMkLst>
        <pc:spChg chg="mod">
          <ac:chgData name="Buchegger, Dominik" userId="4419538d-6150-464b-ac11-eb0323261855" providerId="ADAL" clId="{4FF7FC10-9C95-42E5-ADC4-B637B56793B6}" dt="2023-09-25T13:41:08.920" v="24" actId="20577"/>
          <ac:spMkLst>
            <pc:docMk/>
            <pc:sldMk cId="2360417348" sldId="1501"/>
            <ac:spMk id="2" creationId="{236FB4C8-C4D9-C688-85AF-1B8358D80397}"/>
          </ac:spMkLst>
        </pc:spChg>
        <pc:spChg chg="del mod">
          <ac:chgData name="Buchegger, Dominik" userId="4419538d-6150-464b-ac11-eb0323261855" providerId="ADAL" clId="{4FF7FC10-9C95-42E5-ADC4-B637B56793B6}" dt="2023-09-25T13:41:36.524" v="32" actId="478"/>
          <ac:spMkLst>
            <pc:docMk/>
            <pc:sldMk cId="2360417348" sldId="1501"/>
            <ac:spMk id="7" creationId="{21CF3799-A348-4201-512C-AE72CD6CBDBC}"/>
          </ac:spMkLst>
        </pc:spChg>
        <pc:picChg chg="add mod modCrop">
          <ac:chgData name="Buchegger, Dominik" userId="4419538d-6150-464b-ac11-eb0323261855" providerId="ADAL" clId="{4FF7FC10-9C95-42E5-ADC4-B637B56793B6}" dt="2023-09-25T13:42:03.059" v="34"/>
          <ac:picMkLst>
            <pc:docMk/>
            <pc:sldMk cId="2360417348" sldId="1501"/>
            <ac:picMk id="3" creationId="{63F0FD41-1301-683E-43E0-9E616A9D4400}"/>
          </ac:picMkLst>
        </pc:picChg>
        <pc:picChg chg="del">
          <ac:chgData name="Buchegger, Dominik" userId="4419538d-6150-464b-ac11-eb0323261855" providerId="ADAL" clId="{4FF7FC10-9C95-42E5-ADC4-B637B56793B6}" dt="2023-09-25T13:41:15.873" v="26" actId="478"/>
          <ac:picMkLst>
            <pc:docMk/>
            <pc:sldMk cId="2360417348" sldId="1501"/>
            <ac:picMk id="15" creationId="{BF8D2AD4-1B4A-06B2-101F-215F04B8A489}"/>
          </ac:picMkLst>
        </pc:picChg>
        <pc:picChg chg="del">
          <ac:chgData name="Buchegger, Dominik" userId="4419538d-6150-464b-ac11-eb0323261855" providerId="ADAL" clId="{4FF7FC10-9C95-42E5-ADC4-B637B56793B6}" dt="2023-09-25T13:41:17.474" v="27" actId="478"/>
          <ac:picMkLst>
            <pc:docMk/>
            <pc:sldMk cId="2360417348" sldId="1501"/>
            <ac:picMk id="16" creationId="{78E443FB-7835-02EA-C832-DEC074F58049}"/>
          </ac:picMkLst>
        </pc:picChg>
      </pc:sldChg>
      <pc:sldChg chg="addSp delSp modSp add del mod">
        <pc:chgData name="Buchegger, Dominik" userId="4419538d-6150-464b-ac11-eb0323261855" providerId="ADAL" clId="{4FF7FC10-9C95-42E5-ADC4-B637B56793B6}" dt="2023-10-02T08:57:08.226" v="49" actId="47"/>
        <pc:sldMkLst>
          <pc:docMk/>
          <pc:sldMk cId="660672129" sldId="1502"/>
        </pc:sldMkLst>
        <pc:spChg chg="add del mod">
          <ac:chgData name="Buchegger, Dominik" userId="4419538d-6150-464b-ac11-eb0323261855" providerId="ADAL" clId="{4FF7FC10-9C95-42E5-ADC4-B637B56793B6}" dt="2023-09-25T13:43:18.025" v="39" actId="6549"/>
          <ac:spMkLst>
            <pc:docMk/>
            <pc:sldMk cId="660672129" sldId="1502"/>
            <ac:spMk id="3" creationId="{89400F98-A9D9-5712-5792-C9458730B3A8}"/>
          </ac:spMkLst>
        </pc:spChg>
        <pc:spChg chg="add del mod">
          <ac:chgData name="Buchegger, Dominik" userId="4419538d-6150-464b-ac11-eb0323261855" providerId="ADAL" clId="{4FF7FC10-9C95-42E5-ADC4-B637B56793B6}" dt="2023-09-25T13:43:16.906" v="38" actId="478"/>
          <ac:spMkLst>
            <pc:docMk/>
            <pc:sldMk cId="660672129" sldId="1502"/>
            <ac:spMk id="6" creationId="{427B0ED8-A256-AB06-917E-AE70BDAA74C1}"/>
          </ac:spMkLst>
        </pc:spChg>
        <pc:picChg chg="del">
          <ac:chgData name="Buchegger, Dominik" userId="4419538d-6150-464b-ac11-eb0323261855" providerId="ADAL" clId="{4FF7FC10-9C95-42E5-ADC4-B637B56793B6}" dt="2023-09-25T13:43:23.463" v="44" actId="478"/>
          <ac:picMkLst>
            <pc:docMk/>
            <pc:sldMk cId="660672129" sldId="1502"/>
            <ac:picMk id="7" creationId="{AFF73776-444F-84CB-4878-6B597B8ACAFF}"/>
          </ac:picMkLst>
        </pc:picChg>
        <pc:picChg chg="del">
          <ac:chgData name="Buchegger, Dominik" userId="4419538d-6150-464b-ac11-eb0323261855" providerId="ADAL" clId="{4FF7FC10-9C95-42E5-ADC4-B637B56793B6}" dt="2023-09-25T13:43:20.709" v="41" actId="478"/>
          <ac:picMkLst>
            <pc:docMk/>
            <pc:sldMk cId="660672129" sldId="1502"/>
            <ac:picMk id="8" creationId="{71EE667B-67C5-0F2D-1EB1-10793AB3D4F3}"/>
          </ac:picMkLst>
        </pc:picChg>
        <pc:picChg chg="del">
          <ac:chgData name="Buchegger, Dominik" userId="4419538d-6150-464b-ac11-eb0323261855" providerId="ADAL" clId="{4FF7FC10-9C95-42E5-ADC4-B637B56793B6}" dt="2023-09-25T13:43:19.762" v="40" actId="478"/>
          <ac:picMkLst>
            <pc:docMk/>
            <pc:sldMk cId="660672129" sldId="1502"/>
            <ac:picMk id="9" creationId="{58A43600-6679-C7B8-3D26-C4869EF9FF91}"/>
          </ac:picMkLst>
        </pc:picChg>
        <pc:picChg chg="del">
          <ac:chgData name="Buchegger, Dominik" userId="4419538d-6150-464b-ac11-eb0323261855" providerId="ADAL" clId="{4FF7FC10-9C95-42E5-ADC4-B637B56793B6}" dt="2023-09-25T13:43:27.168" v="48" actId="478"/>
          <ac:picMkLst>
            <pc:docMk/>
            <pc:sldMk cId="660672129" sldId="1502"/>
            <ac:picMk id="10" creationId="{91DA8F0A-6239-3B92-1082-8C54510095C4}"/>
          </ac:picMkLst>
        </pc:picChg>
        <pc:picChg chg="del">
          <ac:chgData name="Buchegger, Dominik" userId="4419538d-6150-464b-ac11-eb0323261855" providerId="ADAL" clId="{4FF7FC10-9C95-42E5-ADC4-B637B56793B6}" dt="2023-09-25T13:43:25.325" v="46" actId="478"/>
          <ac:picMkLst>
            <pc:docMk/>
            <pc:sldMk cId="660672129" sldId="1502"/>
            <ac:picMk id="11" creationId="{88D30A6E-DBC8-B905-10B3-B20B1B98AF12}"/>
          </ac:picMkLst>
        </pc:picChg>
        <pc:picChg chg="del">
          <ac:chgData name="Buchegger, Dominik" userId="4419538d-6150-464b-ac11-eb0323261855" providerId="ADAL" clId="{4FF7FC10-9C95-42E5-ADC4-B637B56793B6}" dt="2023-09-25T13:43:26.319" v="47" actId="478"/>
          <ac:picMkLst>
            <pc:docMk/>
            <pc:sldMk cId="660672129" sldId="1502"/>
            <ac:picMk id="12" creationId="{C2A8C972-F569-1C49-7FB5-145CABA6BE80}"/>
          </ac:picMkLst>
        </pc:picChg>
        <pc:picChg chg="del">
          <ac:chgData name="Buchegger, Dominik" userId="4419538d-6150-464b-ac11-eb0323261855" providerId="ADAL" clId="{4FF7FC10-9C95-42E5-ADC4-B637B56793B6}" dt="2023-09-25T13:43:22.683" v="43" actId="478"/>
          <ac:picMkLst>
            <pc:docMk/>
            <pc:sldMk cId="660672129" sldId="1502"/>
            <ac:picMk id="13" creationId="{E1C32E45-50D7-9213-4515-4BFFE9C64A0E}"/>
          </ac:picMkLst>
        </pc:picChg>
        <pc:picChg chg="del">
          <ac:chgData name="Buchegger, Dominik" userId="4419538d-6150-464b-ac11-eb0323261855" providerId="ADAL" clId="{4FF7FC10-9C95-42E5-ADC4-B637B56793B6}" dt="2023-09-25T13:43:24.387" v="45" actId="478"/>
          <ac:picMkLst>
            <pc:docMk/>
            <pc:sldMk cId="660672129" sldId="1502"/>
            <ac:picMk id="14" creationId="{FA4AFA9F-8F7A-D699-E5F7-7A723F97B224}"/>
          </ac:picMkLst>
        </pc:picChg>
        <pc:picChg chg="del">
          <ac:chgData name="Buchegger, Dominik" userId="4419538d-6150-464b-ac11-eb0323261855" providerId="ADAL" clId="{4FF7FC10-9C95-42E5-ADC4-B637B56793B6}" dt="2023-09-25T13:43:21.774" v="42" actId="478"/>
          <ac:picMkLst>
            <pc:docMk/>
            <pc:sldMk cId="660672129" sldId="1502"/>
            <ac:picMk id="16" creationId="{CA7AC963-9232-E11C-C97C-0716D84F1DF9}"/>
          </ac:picMkLst>
        </pc:picChg>
      </pc:sldChg>
      <pc:sldChg chg="modSp add mod">
        <pc:chgData name="Buchegger, Dominik" userId="4419538d-6150-464b-ac11-eb0323261855" providerId="ADAL" clId="{4FF7FC10-9C95-42E5-ADC4-B637B56793B6}" dt="2023-10-02T08:58:05.919" v="55" actId="20577"/>
        <pc:sldMkLst>
          <pc:docMk/>
          <pc:sldMk cId="2591279201" sldId="1502"/>
        </pc:sldMkLst>
        <pc:spChg chg="mod">
          <ac:chgData name="Buchegger, Dominik" userId="4419538d-6150-464b-ac11-eb0323261855" providerId="ADAL" clId="{4FF7FC10-9C95-42E5-ADC4-B637B56793B6}" dt="2023-10-02T08:58:05.919" v="55" actId="20577"/>
          <ac:spMkLst>
            <pc:docMk/>
            <pc:sldMk cId="2591279201" sldId="1502"/>
            <ac:spMk id="13" creationId="{0C11E479-9B3A-42D2-A07C-80F9E924336D}"/>
          </ac:spMkLst>
        </pc:spChg>
      </pc:sldChg>
      <pc:sldChg chg="modSp add mod">
        <pc:chgData name="Buchegger, Dominik" userId="4419538d-6150-464b-ac11-eb0323261855" providerId="ADAL" clId="{4FF7FC10-9C95-42E5-ADC4-B637B56793B6}" dt="2023-10-02T08:58:25.258" v="65" actId="20577"/>
        <pc:sldMkLst>
          <pc:docMk/>
          <pc:sldMk cId="2517475338" sldId="1503"/>
        </pc:sldMkLst>
        <pc:spChg chg="mod">
          <ac:chgData name="Buchegger, Dominik" userId="4419538d-6150-464b-ac11-eb0323261855" providerId="ADAL" clId="{4FF7FC10-9C95-42E5-ADC4-B637B56793B6}" dt="2023-10-02T08:58:25.258" v="65" actId="20577"/>
          <ac:spMkLst>
            <pc:docMk/>
            <pc:sldMk cId="2517475338" sldId="1503"/>
            <ac:spMk id="2" creationId="{38C104DD-55A5-D5D7-68B1-A81097757DA7}"/>
          </ac:spMkLst>
        </pc:spChg>
      </pc:sldChg>
      <pc:sldChg chg="addSp modSp add mod">
        <pc:chgData name="Buchegger, Dominik" userId="4419538d-6150-464b-ac11-eb0323261855" providerId="ADAL" clId="{4FF7FC10-9C95-42E5-ADC4-B637B56793B6}" dt="2023-10-02T09:28:28.851" v="2018" actId="113"/>
        <pc:sldMkLst>
          <pc:docMk/>
          <pc:sldMk cId="4256595195" sldId="1504"/>
        </pc:sldMkLst>
        <pc:spChg chg="add mod">
          <ac:chgData name="Buchegger, Dominik" userId="4419538d-6150-464b-ac11-eb0323261855" providerId="ADAL" clId="{4FF7FC10-9C95-42E5-ADC4-B637B56793B6}" dt="2023-10-02T09:12:26.822" v="997" actId="1076"/>
          <ac:spMkLst>
            <pc:docMk/>
            <pc:sldMk cId="4256595195" sldId="1504"/>
            <ac:spMk id="7" creationId="{4A2F412B-298A-BF17-A1B2-7B56C826B5F2}"/>
          </ac:spMkLst>
        </pc:spChg>
        <pc:spChg chg="mod">
          <ac:chgData name="Buchegger, Dominik" userId="4419538d-6150-464b-ac11-eb0323261855" providerId="ADAL" clId="{4FF7FC10-9C95-42E5-ADC4-B637B56793B6}" dt="2023-10-02T09:28:28.851" v="2018" actId="113"/>
          <ac:spMkLst>
            <pc:docMk/>
            <pc:sldMk cId="4256595195" sldId="1504"/>
            <ac:spMk id="8" creationId="{E0EB712D-88FF-652F-AD07-EBE500FC8B72}"/>
          </ac:spMkLst>
        </pc:spChg>
        <pc:spChg chg="mod">
          <ac:chgData name="Buchegger, Dominik" userId="4419538d-6150-464b-ac11-eb0323261855" providerId="ADAL" clId="{4FF7FC10-9C95-42E5-ADC4-B637B56793B6}" dt="2023-10-02T09:12:19.600" v="996" actId="27636"/>
          <ac:spMkLst>
            <pc:docMk/>
            <pc:sldMk cId="4256595195" sldId="1504"/>
            <ac:spMk id="9" creationId="{59B53215-B6F1-5EC0-B1AC-A12EE89612BE}"/>
          </ac:spMkLst>
        </pc:spChg>
        <pc:spChg chg="add mod">
          <ac:chgData name="Buchegger, Dominik" userId="4419538d-6150-464b-ac11-eb0323261855" providerId="ADAL" clId="{4FF7FC10-9C95-42E5-ADC4-B637B56793B6}" dt="2023-10-02T09:12:35.693" v="998" actId="1076"/>
          <ac:spMkLst>
            <pc:docMk/>
            <pc:sldMk cId="4256595195" sldId="1504"/>
            <ac:spMk id="10" creationId="{8760135C-F0D4-7C29-7716-A0FA386A3A4D}"/>
          </ac:spMkLst>
        </pc:spChg>
        <pc:picChg chg="add mod">
          <ac:chgData name="Buchegger, Dominik" userId="4419538d-6150-464b-ac11-eb0323261855" providerId="ADAL" clId="{4FF7FC10-9C95-42E5-ADC4-B637B56793B6}" dt="2023-10-02T09:11:35.621" v="979" actId="1037"/>
          <ac:picMkLst>
            <pc:docMk/>
            <pc:sldMk cId="4256595195" sldId="1504"/>
            <ac:picMk id="2" creationId="{7A9574A6-BE3D-98E0-BAA5-624301AB4116}"/>
          </ac:picMkLst>
        </pc:picChg>
        <pc:picChg chg="add mod">
          <ac:chgData name="Buchegger, Dominik" userId="4419538d-6150-464b-ac11-eb0323261855" providerId="ADAL" clId="{4FF7FC10-9C95-42E5-ADC4-B637B56793B6}" dt="2023-10-02T09:11:29.798" v="967" actId="1076"/>
          <ac:picMkLst>
            <pc:docMk/>
            <pc:sldMk cId="4256595195" sldId="1504"/>
            <ac:picMk id="6" creationId="{BCA95D70-1D49-1E10-7C92-8B33DF95D65A}"/>
          </ac:picMkLst>
        </pc:picChg>
      </pc:sldChg>
      <pc:sldChg chg="addSp delSp modSp add mod">
        <pc:chgData name="Buchegger, Dominik" userId="4419538d-6150-464b-ac11-eb0323261855" providerId="ADAL" clId="{4FF7FC10-9C95-42E5-ADC4-B637B56793B6}" dt="2023-10-02T09:37:32.196" v="2053" actId="1036"/>
        <pc:sldMkLst>
          <pc:docMk/>
          <pc:sldMk cId="1585556848" sldId="1505"/>
        </pc:sldMkLst>
        <pc:spChg chg="del mod">
          <ac:chgData name="Buchegger, Dominik" userId="4419538d-6150-464b-ac11-eb0323261855" providerId="ADAL" clId="{4FF7FC10-9C95-42E5-ADC4-B637B56793B6}" dt="2023-10-02T09:13:33.142" v="1005" actId="478"/>
          <ac:spMkLst>
            <pc:docMk/>
            <pc:sldMk cId="1585556848" sldId="1505"/>
            <ac:spMk id="7" creationId="{4A2F412B-298A-BF17-A1B2-7B56C826B5F2}"/>
          </ac:spMkLst>
        </pc:spChg>
        <pc:spChg chg="mod">
          <ac:chgData name="Buchegger, Dominik" userId="4419538d-6150-464b-ac11-eb0323261855" providerId="ADAL" clId="{4FF7FC10-9C95-42E5-ADC4-B637B56793B6}" dt="2023-10-02T09:28:13.956" v="2010" actId="113"/>
          <ac:spMkLst>
            <pc:docMk/>
            <pc:sldMk cId="1585556848" sldId="1505"/>
            <ac:spMk id="8" creationId="{E0EB712D-88FF-652F-AD07-EBE500FC8B72}"/>
          </ac:spMkLst>
        </pc:spChg>
        <pc:spChg chg="mod">
          <ac:chgData name="Buchegger, Dominik" userId="4419538d-6150-464b-ac11-eb0323261855" providerId="ADAL" clId="{4FF7FC10-9C95-42E5-ADC4-B637B56793B6}" dt="2023-10-02T09:20:54.862" v="1668" actId="114"/>
          <ac:spMkLst>
            <pc:docMk/>
            <pc:sldMk cId="1585556848" sldId="1505"/>
            <ac:spMk id="9" creationId="{59B53215-B6F1-5EC0-B1AC-A12EE89612BE}"/>
          </ac:spMkLst>
        </pc:spChg>
        <pc:spChg chg="del">
          <ac:chgData name="Buchegger, Dominik" userId="4419538d-6150-464b-ac11-eb0323261855" providerId="ADAL" clId="{4FF7FC10-9C95-42E5-ADC4-B637B56793B6}" dt="2023-10-02T09:13:31.289" v="1004" actId="478"/>
          <ac:spMkLst>
            <pc:docMk/>
            <pc:sldMk cId="1585556848" sldId="1505"/>
            <ac:spMk id="10" creationId="{8760135C-F0D4-7C29-7716-A0FA386A3A4D}"/>
          </ac:spMkLst>
        </pc:spChg>
        <pc:picChg chg="del">
          <ac:chgData name="Buchegger, Dominik" userId="4419538d-6150-464b-ac11-eb0323261855" providerId="ADAL" clId="{4FF7FC10-9C95-42E5-ADC4-B637B56793B6}" dt="2023-10-02T09:13:26.082" v="1002" actId="478"/>
          <ac:picMkLst>
            <pc:docMk/>
            <pc:sldMk cId="1585556848" sldId="1505"/>
            <ac:picMk id="2" creationId="{7A9574A6-BE3D-98E0-BAA5-624301AB4116}"/>
          </ac:picMkLst>
        </pc:picChg>
        <pc:picChg chg="del">
          <ac:chgData name="Buchegger, Dominik" userId="4419538d-6150-464b-ac11-eb0323261855" providerId="ADAL" clId="{4FF7FC10-9C95-42E5-ADC4-B637B56793B6}" dt="2023-10-02T09:13:23.581" v="1000" actId="478"/>
          <ac:picMkLst>
            <pc:docMk/>
            <pc:sldMk cId="1585556848" sldId="1505"/>
            <ac:picMk id="6" creationId="{BCA95D70-1D49-1E10-7C92-8B33DF95D65A}"/>
          </ac:picMkLst>
        </pc:picChg>
        <pc:picChg chg="add mod">
          <ac:chgData name="Buchegger, Dominik" userId="4419538d-6150-464b-ac11-eb0323261855" providerId="ADAL" clId="{4FF7FC10-9C95-42E5-ADC4-B637B56793B6}" dt="2023-10-02T09:36:50.902" v="2036" actId="14100"/>
          <ac:picMkLst>
            <pc:docMk/>
            <pc:sldMk cId="1585556848" sldId="1505"/>
            <ac:picMk id="12" creationId="{237FDFEF-D857-3216-B267-2724F05526D4}"/>
          </ac:picMkLst>
        </pc:picChg>
        <pc:picChg chg="add mod">
          <ac:chgData name="Buchegger, Dominik" userId="4419538d-6150-464b-ac11-eb0323261855" providerId="ADAL" clId="{4FF7FC10-9C95-42E5-ADC4-B637B56793B6}" dt="2023-10-02T09:37:32.196" v="2053" actId="1036"/>
          <ac:picMkLst>
            <pc:docMk/>
            <pc:sldMk cId="1585556848" sldId="1505"/>
            <ac:picMk id="14" creationId="{CFA47CA8-CBBA-02A6-669F-A762928D6D31}"/>
          </ac:picMkLst>
        </pc:picChg>
      </pc:sldChg>
      <pc:sldChg chg="addSp modSp add mod">
        <pc:chgData name="Buchegger, Dominik" userId="4419538d-6150-464b-ac11-eb0323261855" providerId="ADAL" clId="{4FF7FC10-9C95-42E5-ADC4-B637B56793B6}" dt="2023-10-02T09:41:06.387" v="2061" actId="1076"/>
        <pc:sldMkLst>
          <pc:docMk/>
          <pc:sldMk cId="2389986332" sldId="1506"/>
        </pc:sldMkLst>
        <pc:spChg chg="mod">
          <ac:chgData name="Buchegger, Dominik" userId="4419538d-6150-464b-ac11-eb0323261855" providerId="ADAL" clId="{4FF7FC10-9C95-42E5-ADC4-B637B56793B6}" dt="2023-10-02T09:27:56.059" v="2004" actId="113"/>
          <ac:spMkLst>
            <pc:docMk/>
            <pc:sldMk cId="2389986332" sldId="1506"/>
            <ac:spMk id="8" creationId="{E0EB712D-88FF-652F-AD07-EBE500FC8B72}"/>
          </ac:spMkLst>
        </pc:spChg>
        <pc:spChg chg="mod">
          <ac:chgData name="Buchegger, Dominik" userId="4419538d-6150-464b-ac11-eb0323261855" providerId="ADAL" clId="{4FF7FC10-9C95-42E5-ADC4-B637B56793B6}" dt="2023-10-02T09:26:01.768" v="2003" actId="20577"/>
          <ac:spMkLst>
            <pc:docMk/>
            <pc:sldMk cId="2389986332" sldId="1506"/>
            <ac:spMk id="9" creationId="{59B53215-B6F1-5EC0-B1AC-A12EE89612BE}"/>
          </ac:spMkLst>
        </pc:spChg>
        <pc:picChg chg="add mod">
          <ac:chgData name="Buchegger, Dominik" userId="4419538d-6150-464b-ac11-eb0323261855" providerId="ADAL" clId="{4FF7FC10-9C95-42E5-ADC4-B637B56793B6}" dt="2023-10-02T09:41:02.932" v="2060" actId="1076"/>
          <ac:picMkLst>
            <pc:docMk/>
            <pc:sldMk cId="2389986332" sldId="1506"/>
            <ac:picMk id="6" creationId="{8BFE062A-FBEF-FDC1-1847-0E1CE2FC2CFB}"/>
          </ac:picMkLst>
        </pc:picChg>
        <pc:picChg chg="add mod">
          <ac:chgData name="Buchegger, Dominik" userId="4419538d-6150-464b-ac11-eb0323261855" providerId="ADAL" clId="{4FF7FC10-9C95-42E5-ADC4-B637B56793B6}" dt="2023-10-02T09:40:59.321" v="2059" actId="14100"/>
          <ac:picMkLst>
            <pc:docMk/>
            <pc:sldMk cId="2389986332" sldId="1506"/>
            <ac:picMk id="10" creationId="{E06D5AFB-FD36-2872-A239-27132A0BAB0C}"/>
          </ac:picMkLst>
        </pc:picChg>
        <pc:picChg chg="add mod">
          <ac:chgData name="Buchegger, Dominik" userId="4419538d-6150-464b-ac11-eb0323261855" providerId="ADAL" clId="{4FF7FC10-9C95-42E5-ADC4-B637B56793B6}" dt="2023-10-02T09:41:06.387" v="2061" actId="1076"/>
          <ac:picMkLst>
            <pc:docMk/>
            <pc:sldMk cId="2389986332" sldId="1506"/>
            <ac:picMk id="12" creationId="{BAECED76-4AAC-3E98-69DA-F7B6B473054C}"/>
          </ac:picMkLst>
        </pc:picChg>
      </pc:sldChg>
      <pc:sldChg chg="add del">
        <pc:chgData name="Buchegger, Dominik" userId="4419538d-6150-464b-ac11-eb0323261855" providerId="ADAL" clId="{4FF7FC10-9C95-42E5-ADC4-B637B56793B6}" dt="2023-10-02T09:44:40.658" v="2072" actId="47"/>
        <pc:sldMkLst>
          <pc:docMk/>
          <pc:sldMk cId="3001357340" sldId="1507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3407982395" sldId="1507"/>
        </pc:sldMkLst>
      </pc:sldChg>
      <pc:sldChg chg="add del">
        <pc:chgData name="Buchegger, Dominik" userId="4419538d-6150-464b-ac11-eb0323261855" providerId="ADAL" clId="{4FF7FC10-9C95-42E5-ADC4-B637B56793B6}" dt="2023-10-02T09:44:43.217" v="2074" actId="47"/>
        <pc:sldMkLst>
          <pc:docMk/>
          <pc:sldMk cId="3516342763" sldId="1508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778662535" sldId="1509"/>
        </pc:sldMkLst>
      </pc:sldChg>
      <pc:sldChg chg="add del">
        <pc:chgData name="Buchegger, Dominik" userId="4419538d-6150-464b-ac11-eb0323261855" providerId="ADAL" clId="{4FF7FC10-9C95-42E5-ADC4-B637B56793B6}" dt="2023-10-02T09:45:29.620" v="2082" actId="47"/>
        <pc:sldMkLst>
          <pc:docMk/>
          <pc:sldMk cId="1260177827" sldId="1509"/>
        </pc:sldMkLst>
      </pc:sldChg>
      <pc:sldChg chg="add del">
        <pc:chgData name="Buchegger, Dominik" userId="4419538d-6150-464b-ac11-eb0323261855" providerId="ADAL" clId="{4FF7FC10-9C95-42E5-ADC4-B637B56793B6}" dt="2023-10-02T09:45:29.620" v="2082" actId="47"/>
        <pc:sldMkLst>
          <pc:docMk/>
          <pc:sldMk cId="269668478" sldId="1510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1646690863" sldId="1510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2089792256" sldId="1511"/>
        </pc:sldMkLst>
      </pc:sldChg>
      <pc:sldChg chg="add del">
        <pc:chgData name="Buchegger, Dominik" userId="4419538d-6150-464b-ac11-eb0323261855" providerId="ADAL" clId="{4FF7FC10-9C95-42E5-ADC4-B637B56793B6}" dt="2023-10-02T09:45:29.620" v="2082" actId="47"/>
        <pc:sldMkLst>
          <pc:docMk/>
          <pc:sldMk cId="3829399926" sldId="1511"/>
        </pc:sldMkLst>
      </pc:sldChg>
      <pc:sldChg chg="add del">
        <pc:chgData name="Buchegger, Dominik" userId="4419538d-6150-464b-ac11-eb0323261855" providerId="ADAL" clId="{4FF7FC10-9C95-42E5-ADC4-B637B56793B6}" dt="2023-10-02T09:45:38.158" v="2083" actId="47"/>
        <pc:sldMkLst>
          <pc:docMk/>
          <pc:sldMk cId="797635845" sldId="1512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3110777341" sldId="1512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421472600" sldId="1513"/>
        </pc:sldMkLst>
      </pc:sldChg>
      <pc:sldChg chg="add del">
        <pc:chgData name="Buchegger, Dominik" userId="4419538d-6150-464b-ac11-eb0323261855" providerId="ADAL" clId="{4FF7FC10-9C95-42E5-ADC4-B637B56793B6}" dt="2023-10-02T09:45:38.158" v="2083" actId="47"/>
        <pc:sldMkLst>
          <pc:docMk/>
          <pc:sldMk cId="1499470828" sldId="1513"/>
        </pc:sldMkLst>
      </pc:sldChg>
      <pc:sldChg chg="add del">
        <pc:chgData name="Buchegger, Dominik" userId="4419538d-6150-464b-ac11-eb0323261855" providerId="ADAL" clId="{4FF7FC10-9C95-42E5-ADC4-B637B56793B6}" dt="2023-10-02T09:45:38.158" v="2083" actId="47"/>
        <pc:sldMkLst>
          <pc:docMk/>
          <pc:sldMk cId="2924008123" sldId="1514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2964788141" sldId="1514"/>
        </pc:sldMkLst>
      </pc:sldChg>
      <pc:sldChg chg="add del">
        <pc:chgData name="Buchegger, Dominik" userId="4419538d-6150-464b-ac11-eb0323261855" providerId="ADAL" clId="{4FF7FC10-9C95-42E5-ADC4-B637B56793B6}" dt="2023-10-02T09:46:02.186" v="2090" actId="47"/>
        <pc:sldMkLst>
          <pc:docMk/>
          <pc:sldMk cId="507396590" sldId="1515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1713163214" sldId="1515"/>
        </pc:sldMkLst>
      </pc:sldChg>
      <pc:sldMasterChg chg="delSldLayout">
        <pc:chgData name="Buchegger, Dominik" userId="4419538d-6150-464b-ac11-eb0323261855" providerId="ADAL" clId="{4FF7FC10-9C95-42E5-ADC4-B637B56793B6}" dt="2023-10-02T09:28:51.270" v="2025" actId="47"/>
        <pc:sldMasterMkLst>
          <pc:docMk/>
          <pc:sldMasterMk cId="4246037650" sldId="2147483660"/>
        </pc:sldMasterMkLst>
        <pc:sldLayoutChg chg="del">
          <pc:chgData name="Buchegger, Dominik" userId="4419538d-6150-464b-ac11-eb0323261855" providerId="ADAL" clId="{4FF7FC10-9C95-42E5-ADC4-B637B56793B6}" dt="2023-10-02T09:28:51.270" v="2025" actId="47"/>
          <pc:sldLayoutMkLst>
            <pc:docMk/>
            <pc:sldMasterMk cId="4246037650" sldId="2147483660"/>
            <pc:sldLayoutMk cId="152291453" sldId="2147483707"/>
          </pc:sldLayoutMkLst>
        </pc:sldLayoutChg>
      </pc:sldMasterChg>
    </pc:docChg>
  </pc:docChgLst>
  <pc:docChgLst>
    <pc:chgData name="Dominik Buchegger" userId="7f2052fac20aabcc" providerId="LiveId" clId="{D17EDC16-E14E-4E9C-8D3E-EABFA8038E36}"/>
    <pc:docChg chg="undo custSel addSld delSld modSld">
      <pc:chgData name="Dominik Buchegger" userId="7f2052fac20aabcc" providerId="LiveId" clId="{D17EDC16-E14E-4E9C-8D3E-EABFA8038E36}" dt="2023-10-12T13:44:02.877" v="178"/>
      <pc:docMkLst>
        <pc:docMk/>
      </pc:docMkLst>
      <pc:sldChg chg="modSp mod">
        <pc:chgData name="Dominik Buchegger" userId="7f2052fac20aabcc" providerId="LiveId" clId="{D17EDC16-E14E-4E9C-8D3E-EABFA8038E36}" dt="2023-10-12T13:39:36.068" v="51" actId="5793"/>
        <pc:sldMkLst>
          <pc:docMk/>
          <pc:sldMk cId="2038474157" sldId="266"/>
        </pc:sldMkLst>
        <pc:spChg chg="mod">
          <ac:chgData name="Dominik Buchegger" userId="7f2052fac20aabcc" providerId="LiveId" clId="{D17EDC16-E14E-4E9C-8D3E-EABFA8038E36}" dt="2023-10-12T13:39:36.068" v="51" actId="5793"/>
          <ac:spMkLst>
            <pc:docMk/>
            <pc:sldMk cId="2038474157" sldId="266"/>
            <ac:spMk id="2" creationId="{D2C16DE5-16C7-46BC-9A07-F2E4099DED56}"/>
          </ac:spMkLst>
        </pc:spChg>
      </pc:sldChg>
      <pc:sldChg chg="addSp modSp mod">
        <pc:chgData name="Dominik Buchegger" userId="7f2052fac20aabcc" providerId="LiveId" clId="{D17EDC16-E14E-4E9C-8D3E-EABFA8038E36}" dt="2023-10-12T13:40:10.013" v="57" actId="207"/>
        <pc:sldMkLst>
          <pc:docMk/>
          <pc:sldMk cId="403942813" sldId="271"/>
        </pc:sldMkLst>
        <pc:spChg chg="mod">
          <ac:chgData name="Dominik Buchegger" userId="7f2052fac20aabcc" providerId="LiveId" clId="{D17EDC16-E14E-4E9C-8D3E-EABFA8038E36}" dt="2023-10-12T13:39:56.870" v="55" actId="20577"/>
          <ac:spMkLst>
            <pc:docMk/>
            <pc:sldMk cId="403942813" sldId="271"/>
            <ac:spMk id="2" creationId="{F6B7D96D-66B8-41BC-B879-E1D0BD669620}"/>
          </ac:spMkLst>
        </pc:spChg>
        <pc:spChg chg="mod">
          <ac:chgData name="Dominik Buchegger" userId="7f2052fac20aabcc" providerId="LiveId" clId="{D17EDC16-E14E-4E9C-8D3E-EABFA8038E36}" dt="2023-10-12T13:40:10.013" v="57" actId="207"/>
          <ac:spMkLst>
            <pc:docMk/>
            <pc:sldMk cId="403942813" sldId="271"/>
            <ac:spMk id="3" creationId="{06399AC7-7FC2-43B8-8381-1D8BD2A049B2}"/>
          </ac:spMkLst>
        </pc:spChg>
        <pc:picChg chg="add mod">
          <ac:chgData name="Dominik Buchegger" userId="7f2052fac20aabcc" providerId="LiveId" clId="{D17EDC16-E14E-4E9C-8D3E-EABFA8038E36}" dt="2023-10-12T13:40:01.206" v="56"/>
          <ac:picMkLst>
            <pc:docMk/>
            <pc:sldMk cId="403942813" sldId="271"/>
            <ac:picMk id="5" creationId="{CE17A2D2-21E8-6C95-AB0A-D9D57C17A5BA}"/>
          </ac:picMkLst>
        </pc:picChg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326644981" sldId="301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3397543775" sldId="302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3682573708" sldId="303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531092861" sldId="304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521506971" sldId="306"/>
        </pc:sldMkLst>
      </pc:sldChg>
      <pc:sldChg chg="del">
        <pc:chgData name="Dominik Buchegger" userId="7f2052fac20aabcc" providerId="LiveId" clId="{D17EDC16-E14E-4E9C-8D3E-EABFA8038E36}" dt="2023-10-12T13:39:17.303" v="23" actId="47"/>
        <pc:sldMkLst>
          <pc:docMk/>
          <pc:sldMk cId="247457547" sldId="393"/>
        </pc:sldMkLst>
      </pc:sldChg>
      <pc:sldChg chg="del">
        <pc:chgData name="Dominik Buchegger" userId="7f2052fac20aabcc" providerId="LiveId" clId="{D17EDC16-E14E-4E9C-8D3E-EABFA8038E36}" dt="2023-10-12T13:39:21.855" v="30" actId="47"/>
        <pc:sldMkLst>
          <pc:docMk/>
          <pc:sldMk cId="1497874562" sldId="396"/>
        </pc:sldMkLst>
      </pc:sldChg>
      <pc:sldChg chg="modSp mod">
        <pc:chgData name="Dominik Buchegger" userId="7f2052fac20aabcc" providerId="LiveId" clId="{D17EDC16-E14E-4E9C-8D3E-EABFA8038E36}" dt="2023-10-12T13:40:58.136" v="153" actId="20577"/>
        <pc:sldMkLst>
          <pc:docMk/>
          <pc:sldMk cId="3950133140" sldId="1425"/>
        </pc:sldMkLst>
        <pc:spChg chg="mod">
          <ac:chgData name="Dominik Buchegger" userId="7f2052fac20aabcc" providerId="LiveId" clId="{D17EDC16-E14E-4E9C-8D3E-EABFA8038E36}" dt="2023-10-12T13:40:58.136" v="153" actId="20577"/>
          <ac:spMkLst>
            <pc:docMk/>
            <pc:sldMk cId="3950133140" sldId="1425"/>
            <ac:spMk id="16" creationId="{909CA527-9C4E-4704-9579-AA53445EF11F}"/>
          </ac:spMkLst>
        </pc:spChg>
      </pc:sldChg>
      <pc:sldChg chg="modSp mod">
        <pc:chgData name="Dominik Buchegger" userId="7f2052fac20aabcc" providerId="LiveId" clId="{D17EDC16-E14E-4E9C-8D3E-EABFA8038E36}" dt="2023-10-12T13:38:49.391" v="9" actId="20577"/>
        <pc:sldMkLst>
          <pc:docMk/>
          <pc:sldMk cId="860905568" sldId="1461"/>
        </pc:sldMkLst>
        <pc:spChg chg="mod">
          <ac:chgData name="Dominik Buchegger" userId="7f2052fac20aabcc" providerId="LiveId" clId="{D17EDC16-E14E-4E9C-8D3E-EABFA8038E36}" dt="2023-10-12T13:38:49.391" v="9" actId="20577"/>
          <ac:spMkLst>
            <pc:docMk/>
            <pc:sldMk cId="860905568" sldId="1461"/>
            <ac:spMk id="2" creationId="{C36256A2-67B2-CA01-7417-6A9C17C6B307}"/>
          </ac:spMkLst>
        </pc:spChg>
      </pc:sldChg>
      <pc:sldChg chg="modSp mod">
        <pc:chgData name="Dominik Buchegger" userId="7f2052fac20aabcc" providerId="LiveId" clId="{D17EDC16-E14E-4E9C-8D3E-EABFA8038E36}" dt="2023-10-12T13:39:05.882" v="21" actId="20577"/>
        <pc:sldMkLst>
          <pc:docMk/>
          <pc:sldMk cId="1700766504" sldId="1464"/>
        </pc:sldMkLst>
        <pc:spChg chg="mod">
          <ac:chgData name="Dominik Buchegger" userId="7f2052fac20aabcc" providerId="LiveId" clId="{D17EDC16-E14E-4E9C-8D3E-EABFA8038E36}" dt="2023-10-12T13:39:05.882" v="21" actId="20577"/>
          <ac:spMkLst>
            <pc:docMk/>
            <pc:sldMk cId="1700766504" sldId="1464"/>
            <ac:spMk id="2" creationId="{C36256A2-67B2-CA01-7417-6A9C17C6B307}"/>
          </ac:spMkLst>
        </pc:spChg>
      </pc:sldChg>
      <pc:sldChg chg="modSp mod">
        <pc:chgData name="Dominik Buchegger" userId="7f2052fac20aabcc" providerId="LiveId" clId="{D17EDC16-E14E-4E9C-8D3E-EABFA8038E36}" dt="2023-10-12T13:40:18.157" v="59" actId="20577"/>
        <pc:sldMkLst>
          <pc:docMk/>
          <pc:sldMk cId="3108777804" sldId="1465"/>
        </pc:sldMkLst>
        <pc:spChg chg="mod">
          <ac:chgData name="Dominik Buchegger" userId="7f2052fac20aabcc" providerId="LiveId" clId="{D17EDC16-E14E-4E9C-8D3E-EABFA8038E36}" dt="2023-10-12T13:40:18.157" v="59" actId="20577"/>
          <ac:spMkLst>
            <pc:docMk/>
            <pc:sldMk cId="3108777804" sldId="1465"/>
            <ac:spMk id="2" creationId="{C36256A2-67B2-CA01-7417-6A9C17C6B307}"/>
          </ac:spMkLst>
        </pc:spChg>
      </pc:sldChg>
      <pc:sldChg chg="modSp del mod">
        <pc:chgData name="Dominik Buchegger" userId="7f2052fac20aabcc" providerId="LiveId" clId="{D17EDC16-E14E-4E9C-8D3E-EABFA8038E36}" dt="2023-10-12T13:42:18.537" v="158" actId="47"/>
        <pc:sldMkLst>
          <pc:docMk/>
          <pc:sldMk cId="2447692118" sldId="1480"/>
        </pc:sldMkLst>
        <pc:spChg chg="mod">
          <ac:chgData name="Dominik Buchegger" userId="7f2052fac20aabcc" providerId="LiveId" clId="{D17EDC16-E14E-4E9C-8D3E-EABFA8038E36}" dt="2023-10-12T13:39:32.117" v="47" actId="5793"/>
          <ac:spMkLst>
            <pc:docMk/>
            <pc:sldMk cId="2447692118" sldId="1480"/>
            <ac:spMk id="2" creationId="{76EA407A-0B5B-9B6F-C9D4-877962AE18C5}"/>
          </ac:spMkLst>
        </pc:spChg>
      </pc:sldChg>
      <pc:sldChg chg="del">
        <pc:chgData name="Dominik Buchegger" userId="7f2052fac20aabcc" providerId="LiveId" clId="{D17EDC16-E14E-4E9C-8D3E-EABFA8038E36}" dt="2023-10-12T13:39:18.568" v="25" actId="47"/>
        <pc:sldMkLst>
          <pc:docMk/>
          <pc:sldMk cId="3964502424" sldId="1488"/>
        </pc:sldMkLst>
      </pc:sldChg>
      <pc:sldChg chg="del">
        <pc:chgData name="Dominik Buchegger" userId="7f2052fac20aabcc" providerId="LiveId" clId="{D17EDC16-E14E-4E9C-8D3E-EABFA8038E36}" dt="2023-10-12T13:39:19.229" v="26" actId="47"/>
        <pc:sldMkLst>
          <pc:docMk/>
          <pc:sldMk cId="3279543381" sldId="1489"/>
        </pc:sldMkLst>
      </pc:sldChg>
      <pc:sldChg chg="del">
        <pc:chgData name="Dominik Buchegger" userId="7f2052fac20aabcc" providerId="LiveId" clId="{D17EDC16-E14E-4E9C-8D3E-EABFA8038E36}" dt="2023-10-12T13:39:20.018" v="27" actId="47"/>
        <pc:sldMkLst>
          <pc:docMk/>
          <pc:sldMk cId="2372438867" sldId="1490"/>
        </pc:sldMkLst>
      </pc:sldChg>
      <pc:sldChg chg="del">
        <pc:chgData name="Dominik Buchegger" userId="7f2052fac20aabcc" providerId="LiveId" clId="{D17EDC16-E14E-4E9C-8D3E-EABFA8038E36}" dt="2023-10-12T13:39:20.646" v="28" actId="47"/>
        <pc:sldMkLst>
          <pc:docMk/>
          <pc:sldMk cId="2879652387" sldId="1491"/>
        </pc:sldMkLst>
      </pc:sldChg>
      <pc:sldChg chg="modSp mod">
        <pc:chgData name="Dominik Buchegger" userId="7f2052fac20aabcc" providerId="LiveId" clId="{D17EDC16-E14E-4E9C-8D3E-EABFA8038E36}" dt="2023-10-12T13:38:59.792" v="14" actId="20577"/>
        <pc:sldMkLst>
          <pc:docMk/>
          <pc:sldMk cId="1352991866" sldId="1492"/>
        </pc:sldMkLst>
        <pc:spChg chg="mod">
          <ac:chgData name="Dominik Buchegger" userId="7f2052fac20aabcc" providerId="LiveId" clId="{D17EDC16-E14E-4E9C-8D3E-EABFA8038E36}" dt="2023-10-12T13:38:56.443" v="13" actId="20577"/>
          <ac:spMkLst>
            <pc:docMk/>
            <pc:sldMk cId="1352991866" sldId="1492"/>
            <ac:spMk id="3" creationId="{811F6EC9-ECF3-006B-D232-CFD08585C842}"/>
          </ac:spMkLst>
        </pc:spChg>
        <pc:spChg chg="mod">
          <ac:chgData name="Dominik Buchegger" userId="7f2052fac20aabcc" providerId="LiveId" clId="{D17EDC16-E14E-4E9C-8D3E-EABFA8038E36}" dt="2023-10-12T13:38:59.792" v="14" actId="20577"/>
          <ac:spMkLst>
            <pc:docMk/>
            <pc:sldMk cId="1352991866" sldId="1492"/>
            <ac:spMk id="8" creationId="{E0EB712D-88FF-652F-AD07-EBE500FC8B72}"/>
          </ac:spMkLst>
        </pc:spChg>
      </pc:sldChg>
      <pc:sldChg chg="del">
        <pc:chgData name="Dominik Buchegger" userId="7f2052fac20aabcc" providerId="LiveId" clId="{D17EDC16-E14E-4E9C-8D3E-EABFA8038E36}" dt="2023-10-12T13:39:21.385" v="29" actId="47"/>
        <pc:sldMkLst>
          <pc:docMk/>
          <pc:sldMk cId="2395176737" sldId="1493"/>
        </pc:sldMkLst>
      </pc:sldChg>
      <pc:sldChg chg="del">
        <pc:chgData name="Dominik Buchegger" userId="7f2052fac20aabcc" providerId="LiveId" clId="{D17EDC16-E14E-4E9C-8D3E-EABFA8038E36}" dt="2023-10-12T13:39:16.232" v="22" actId="47"/>
        <pc:sldMkLst>
          <pc:docMk/>
          <pc:sldMk cId="1037963299" sldId="1494"/>
        </pc:sldMkLst>
      </pc:sldChg>
      <pc:sldChg chg="del">
        <pc:chgData name="Dominik Buchegger" userId="7f2052fac20aabcc" providerId="LiveId" clId="{D17EDC16-E14E-4E9C-8D3E-EABFA8038E36}" dt="2023-10-12T13:39:22.385" v="31" actId="47"/>
        <pc:sldMkLst>
          <pc:docMk/>
          <pc:sldMk cId="1744814320" sldId="1495"/>
        </pc:sldMkLst>
      </pc:sldChg>
      <pc:sldChg chg="add">
        <pc:chgData name="Dominik Buchegger" userId="7f2052fac20aabcc" providerId="LiveId" clId="{D17EDC16-E14E-4E9C-8D3E-EABFA8038E36}" dt="2023-10-12T13:41:25.109" v="154"/>
        <pc:sldMkLst>
          <pc:docMk/>
          <pc:sldMk cId="4139329431" sldId="1497"/>
        </pc:sldMkLst>
      </pc:sldChg>
      <pc:sldChg chg="modSp mod">
        <pc:chgData name="Dominik Buchegger" userId="7f2052fac20aabcc" providerId="LiveId" clId="{D17EDC16-E14E-4E9C-8D3E-EABFA8038E36}" dt="2023-10-12T13:39:25.924" v="33" actId="20577"/>
        <pc:sldMkLst>
          <pc:docMk/>
          <pc:sldMk cId="2299432622" sldId="1499"/>
        </pc:sldMkLst>
        <pc:spChg chg="mod">
          <ac:chgData name="Dominik Buchegger" userId="7f2052fac20aabcc" providerId="LiveId" clId="{D17EDC16-E14E-4E9C-8D3E-EABFA8038E36}" dt="2023-10-12T13:39:25.924" v="33" actId="20577"/>
          <ac:spMkLst>
            <pc:docMk/>
            <pc:sldMk cId="2299432622" sldId="1499"/>
            <ac:spMk id="2" creationId="{76EA407A-0B5B-9B6F-C9D4-877962AE18C5}"/>
          </ac:spMkLst>
        </pc:spChg>
      </pc:sldChg>
      <pc:sldChg chg="del">
        <pc:chgData name="Dominik Buchegger" userId="7f2052fac20aabcc" providerId="LiveId" clId="{D17EDC16-E14E-4E9C-8D3E-EABFA8038E36}" dt="2023-10-12T13:39:17.790" v="24" actId="47"/>
        <pc:sldMkLst>
          <pc:docMk/>
          <pc:sldMk cId="2360417348" sldId="1501"/>
        </pc:sldMkLst>
      </pc:sldChg>
      <pc:sldChg chg="modSp mod">
        <pc:chgData name="Dominik Buchegger" userId="7f2052fac20aabcc" providerId="LiveId" clId="{D17EDC16-E14E-4E9C-8D3E-EABFA8038E36}" dt="2023-10-12T13:38:35.824" v="1" actId="20577"/>
        <pc:sldMkLst>
          <pc:docMk/>
          <pc:sldMk cId="2591279201" sldId="1502"/>
        </pc:sldMkLst>
        <pc:spChg chg="mod">
          <ac:chgData name="Dominik Buchegger" userId="7f2052fac20aabcc" providerId="LiveId" clId="{D17EDC16-E14E-4E9C-8D3E-EABFA8038E36}" dt="2023-10-12T13:38:35.824" v="1" actId="20577"/>
          <ac:spMkLst>
            <pc:docMk/>
            <pc:sldMk cId="2591279201" sldId="1502"/>
            <ac:spMk id="13" creationId="{0C11E479-9B3A-42D2-A07C-80F9E924336D}"/>
          </ac:spMkLst>
        </pc:spChg>
      </pc:sldChg>
      <pc:sldChg chg="modSp mod">
        <pc:chgData name="Dominik Buchegger" userId="7f2052fac20aabcc" providerId="LiveId" clId="{D17EDC16-E14E-4E9C-8D3E-EABFA8038E36}" dt="2023-10-12T13:43:26.651" v="168" actId="20577"/>
        <pc:sldMkLst>
          <pc:docMk/>
          <pc:sldMk cId="2517475338" sldId="1503"/>
        </pc:sldMkLst>
        <pc:spChg chg="mod">
          <ac:chgData name="Dominik Buchegger" userId="7f2052fac20aabcc" providerId="LiveId" clId="{D17EDC16-E14E-4E9C-8D3E-EABFA8038E36}" dt="2023-10-12T13:43:26.651" v="168" actId="20577"/>
          <ac:spMkLst>
            <pc:docMk/>
            <pc:sldMk cId="2517475338" sldId="1503"/>
            <ac:spMk id="2" creationId="{38C104DD-55A5-D5D7-68B1-A81097757DA7}"/>
          </ac:spMkLst>
        </pc:spChg>
      </pc:sldChg>
      <pc:sldChg chg="del">
        <pc:chgData name="Dominik Buchegger" userId="7f2052fac20aabcc" providerId="LiveId" clId="{D17EDC16-E14E-4E9C-8D3E-EABFA8038E36}" dt="2023-10-12T13:39:01.576" v="15" actId="47"/>
        <pc:sldMkLst>
          <pc:docMk/>
          <pc:sldMk cId="4256595195" sldId="1504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915735580" sldId="1505"/>
        </pc:sldMkLst>
      </pc:sldChg>
      <pc:sldChg chg="del">
        <pc:chgData name="Dominik Buchegger" userId="7f2052fac20aabcc" providerId="LiveId" clId="{D17EDC16-E14E-4E9C-8D3E-EABFA8038E36}" dt="2023-10-12T13:39:02.240" v="16" actId="47"/>
        <pc:sldMkLst>
          <pc:docMk/>
          <pc:sldMk cId="1585556848" sldId="1505"/>
        </pc:sldMkLst>
      </pc:sldChg>
      <pc:sldChg chg="del">
        <pc:chgData name="Dominik Buchegger" userId="7f2052fac20aabcc" providerId="LiveId" clId="{D17EDC16-E14E-4E9C-8D3E-EABFA8038E36}" dt="2023-10-12T13:39:02.768" v="17" actId="47"/>
        <pc:sldMkLst>
          <pc:docMk/>
          <pc:sldMk cId="2389986332" sldId="1506"/>
        </pc:sldMkLst>
      </pc:sldChg>
      <pc:sldChg chg="setBg">
        <pc:chgData name="Dominik Buchegger" userId="7f2052fac20aabcc" providerId="LiveId" clId="{D17EDC16-E14E-4E9C-8D3E-EABFA8038E36}" dt="2023-10-12T13:39:49.547" v="52"/>
        <pc:sldMkLst>
          <pc:docMk/>
          <pc:sldMk cId="1919319757" sldId="1508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980541285" sldId="1510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1339548901" sldId="1511"/>
        </pc:sldMkLst>
      </pc:sldChg>
      <pc:sldChg chg="add">
        <pc:chgData name="Dominik Buchegger" userId="7f2052fac20aabcc" providerId="LiveId" clId="{D17EDC16-E14E-4E9C-8D3E-EABFA8038E36}" dt="2023-10-12T13:43:18.871" v="163"/>
        <pc:sldMkLst>
          <pc:docMk/>
          <pc:sldMk cId="223196536" sldId="1512"/>
        </pc:sldMkLst>
      </pc:sldChg>
      <pc:sldChg chg="add">
        <pc:chgData name="Dominik Buchegger" userId="7f2052fac20aabcc" providerId="LiveId" clId="{D17EDC16-E14E-4E9C-8D3E-EABFA8038E36}" dt="2023-10-12T13:41:25.109" v="154"/>
        <pc:sldMkLst>
          <pc:docMk/>
          <pc:sldMk cId="3597235564" sldId="1513"/>
        </pc:sldMkLst>
      </pc:sldChg>
      <pc:sldChg chg="add">
        <pc:chgData name="Dominik Buchegger" userId="7f2052fac20aabcc" providerId="LiveId" clId="{D17EDC16-E14E-4E9C-8D3E-EABFA8038E36}" dt="2023-10-12T13:41:25.109" v="154"/>
        <pc:sldMkLst>
          <pc:docMk/>
          <pc:sldMk cId="3000516781" sldId="1514"/>
        </pc:sldMkLst>
      </pc:sldChg>
      <pc:sldChg chg="add">
        <pc:chgData name="Dominik Buchegger" userId="7f2052fac20aabcc" providerId="LiveId" clId="{D17EDC16-E14E-4E9C-8D3E-EABFA8038E36}" dt="2023-10-12T13:41:25.109" v="154"/>
        <pc:sldMkLst>
          <pc:docMk/>
          <pc:sldMk cId="2438507487" sldId="1515"/>
        </pc:sldMkLst>
      </pc:sldChg>
      <pc:sldChg chg="add">
        <pc:chgData name="Dominik Buchegger" userId="7f2052fac20aabcc" providerId="LiveId" clId="{D17EDC16-E14E-4E9C-8D3E-EABFA8038E36}" dt="2023-10-12T13:41:25.109" v="154"/>
        <pc:sldMkLst>
          <pc:docMk/>
          <pc:sldMk cId="955680592" sldId="1516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1996384533" sldId="1517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3712458257" sldId="1518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3552734484" sldId="1519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1826951064" sldId="1520"/>
        </pc:sldMkLst>
      </pc:sldChg>
      <pc:sldChg chg="delSp modSp add mod">
        <pc:chgData name="Dominik Buchegger" userId="7f2052fac20aabcc" providerId="LiveId" clId="{D17EDC16-E14E-4E9C-8D3E-EABFA8038E36}" dt="2023-10-12T13:43:54.372" v="175" actId="20577"/>
        <pc:sldMkLst>
          <pc:docMk/>
          <pc:sldMk cId="1594977143" sldId="1521"/>
        </pc:sldMkLst>
        <pc:spChg chg="mod">
          <ac:chgData name="Dominik Buchegger" userId="7f2052fac20aabcc" providerId="LiveId" clId="{D17EDC16-E14E-4E9C-8D3E-EABFA8038E36}" dt="2023-10-12T13:43:51.246" v="173" actId="27636"/>
          <ac:spMkLst>
            <pc:docMk/>
            <pc:sldMk cId="1594977143" sldId="1521"/>
            <ac:spMk id="2" creationId="{76EA407A-0B5B-9B6F-C9D4-877962AE18C5}"/>
          </ac:spMkLst>
        </pc:spChg>
        <pc:spChg chg="mod">
          <ac:chgData name="Dominik Buchegger" userId="7f2052fac20aabcc" providerId="LiveId" clId="{D17EDC16-E14E-4E9C-8D3E-EABFA8038E36}" dt="2023-10-12T13:43:54.372" v="175" actId="20577"/>
          <ac:spMkLst>
            <pc:docMk/>
            <pc:sldMk cId="1594977143" sldId="1521"/>
            <ac:spMk id="3" creationId="{DB798E7F-D0FE-57B3-4521-9426C485AA37}"/>
          </ac:spMkLst>
        </pc:spChg>
        <pc:picChg chg="del">
          <ac:chgData name="Dominik Buchegger" userId="7f2052fac20aabcc" providerId="LiveId" clId="{D17EDC16-E14E-4E9C-8D3E-EABFA8038E36}" dt="2023-10-12T13:43:52.212" v="174" actId="478"/>
          <ac:picMkLst>
            <pc:docMk/>
            <pc:sldMk cId="1594977143" sldId="1521"/>
            <ac:picMk id="4" creationId="{F3BDE2B0-CA21-F63E-85B8-215A13A67B91}"/>
          </ac:picMkLst>
        </pc:picChg>
      </pc:sldChg>
      <pc:sldChg chg="add">
        <pc:chgData name="Dominik Buchegger" userId="7f2052fac20aabcc" providerId="LiveId" clId="{D17EDC16-E14E-4E9C-8D3E-EABFA8038E36}" dt="2023-10-12T13:43:18.871" v="163"/>
        <pc:sldMkLst>
          <pc:docMk/>
          <pc:sldMk cId="1511887388" sldId="1522"/>
        </pc:sldMkLst>
      </pc:sldChg>
      <pc:sldChg chg="add">
        <pc:chgData name="Dominik Buchegger" userId="7f2052fac20aabcc" providerId="LiveId" clId="{D17EDC16-E14E-4E9C-8D3E-EABFA8038E36}" dt="2023-10-12T13:43:18.871" v="163"/>
        <pc:sldMkLst>
          <pc:docMk/>
          <pc:sldMk cId="3803677821" sldId="1523"/>
        </pc:sldMkLst>
      </pc:sldChg>
      <pc:sldChg chg="new del">
        <pc:chgData name="Dominik Buchegger" userId="7f2052fac20aabcc" providerId="LiveId" clId="{D17EDC16-E14E-4E9C-8D3E-EABFA8038E36}" dt="2023-10-12T13:43:45.056" v="170" actId="680"/>
        <pc:sldMkLst>
          <pc:docMk/>
          <pc:sldMk cId="2045482294" sldId="1524"/>
        </pc:sldMkLst>
      </pc:sldChg>
      <pc:sldChg chg="add">
        <pc:chgData name="Dominik Buchegger" userId="7f2052fac20aabcc" providerId="LiveId" clId="{D17EDC16-E14E-4E9C-8D3E-EABFA8038E36}" dt="2023-10-12T13:43:45.796" v="171"/>
        <pc:sldMkLst>
          <pc:docMk/>
          <pc:sldMk cId="3536400902" sldId="1524"/>
        </pc:sldMkLst>
      </pc:sldChg>
      <pc:sldChg chg="add">
        <pc:chgData name="Dominik Buchegger" userId="7f2052fac20aabcc" providerId="LiveId" clId="{D17EDC16-E14E-4E9C-8D3E-EABFA8038E36}" dt="2023-10-12T13:43:45.796" v="171"/>
        <pc:sldMkLst>
          <pc:docMk/>
          <pc:sldMk cId="3096464946" sldId="1525"/>
        </pc:sldMkLst>
      </pc:sldChg>
      <pc:sldChg chg="add">
        <pc:chgData name="Dominik Buchegger" userId="7f2052fac20aabcc" providerId="LiveId" clId="{D17EDC16-E14E-4E9C-8D3E-EABFA8038E36}" dt="2023-10-12T13:43:45.796" v="171"/>
        <pc:sldMkLst>
          <pc:docMk/>
          <pc:sldMk cId="4065876868" sldId="1526"/>
        </pc:sldMkLst>
      </pc:sldChg>
      <pc:sldChg chg="add">
        <pc:chgData name="Dominik Buchegger" userId="7f2052fac20aabcc" providerId="LiveId" clId="{D17EDC16-E14E-4E9C-8D3E-EABFA8038E36}" dt="2023-10-12T13:43:45.796" v="171"/>
        <pc:sldMkLst>
          <pc:docMk/>
          <pc:sldMk cId="1313025417" sldId="1527"/>
        </pc:sldMkLst>
      </pc:sldChg>
      <pc:sldChg chg="add">
        <pc:chgData name="Dominik Buchegger" userId="7f2052fac20aabcc" providerId="LiveId" clId="{D17EDC16-E14E-4E9C-8D3E-EABFA8038E36}" dt="2023-10-12T13:43:45.796" v="171"/>
        <pc:sldMkLst>
          <pc:docMk/>
          <pc:sldMk cId="2052967129" sldId="1528"/>
        </pc:sldMkLst>
      </pc:sldChg>
      <pc:sldChg chg="add">
        <pc:chgData name="Dominik Buchegger" userId="7f2052fac20aabcc" providerId="LiveId" clId="{D17EDC16-E14E-4E9C-8D3E-EABFA8038E36}" dt="2023-10-12T13:43:45.796" v="171"/>
        <pc:sldMkLst>
          <pc:docMk/>
          <pc:sldMk cId="3714999323" sldId="1529"/>
        </pc:sldMkLst>
      </pc:sldChg>
      <pc:sldChg chg="add">
        <pc:chgData name="Dominik Buchegger" userId="7f2052fac20aabcc" providerId="LiveId" clId="{D17EDC16-E14E-4E9C-8D3E-EABFA8038E36}" dt="2023-10-12T13:44:02.877" v="178"/>
        <pc:sldMkLst>
          <pc:docMk/>
          <pc:sldMk cId="1344915621" sldId="1530"/>
        </pc:sldMkLst>
      </pc:sldChg>
      <pc:sldChg chg="add del">
        <pc:chgData name="Dominik Buchegger" userId="7f2052fac20aabcc" providerId="LiveId" clId="{D17EDC16-E14E-4E9C-8D3E-EABFA8038E36}" dt="2023-10-12T13:43:59.435" v="177"/>
        <pc:sldMkLst>
          <pc:docMk/>
          <pc:sldMk cId="4057658395" sldId="1530"/>
        </pc:sldMkLst>
      </pc:sldChg>
      <pc:sldMasterChg chg="delSldLayout">
        <pc:chgData name="Dominik Buchegger" userId="7f2052fac20aabcc" providerId="LiveId" clId="{D17EDC16-E14E-4E9C-8D3E-EABFA8038E36}" dt="2023-10-12T13:39:17.303" v="23" actId="47"/>
        <pc:sldMasterMkLst>
          <pc:docMk/>
          <pc:sldMasterMk cId="4246037650" sldId="2147483660"/>
        </pc:sldMasterMkLst>
        <pc:sldLayoutChg chg="del">
          <pc:chgData name="Dominik Buchegger" userId="7f2052fac20aabcc" providerId="LiveId" clId="{D17EDC16-E14E-4E9C-8D3E-EABFA8038E36}" dt="2023-10-12T13:39:17.303" v="23" actId="47"/>
          <pc:sldLayoutMkLst>
            <pc:docMk/>
            <pc:sldMasterMk cId="4246037650" sldId="2147483660"/>
            <pc:sldLayoutMk cId="1339411644" sldId="2147483707"/>
          </pc:sldLayoutMkLst>
        </pc:sldLayoutChg>
      </pc:sldMasterChg>
    </pc:docChg>
  </pc:docChgLst>
  <pc:docChgLst>
    <pc:chgData name="Dominik Buchegger" userId="7f2052fac20aabcc" providerId="LiveId" clId="{D03414B5-9872-498A-96AA-A15B45DAD6F2}"/>
    <pc:docChg chg="custSel addSld modSld">
      <pc:chgData name="Dominik Buchegger" userId="7f2052fac20aabcc" providerId="LiveId" clId="{D03414B5-9872-498A-96AA-A15B45DAD6F2}" dt="2023-10-27T06:43:27.310" v="7" actId="478"/>
      <pc:docMkLst>
        <pc:docMk/>
      </pc:docMkLst>
      <pc:sldChg chg="delSp modSp add mod">
        <pc:chgData name="Dominik Buchegger" userId="7f2052fac20aabcc" providerId="LiveId" clId="{D03414B5-9872-498A-96AA-A15B45DAD6F2}" dt="2023-10-27T06:43:27.310" v="7" actId="478"/>
        <pc:sldMkLst>
          <pc:docMk/>
          <pc:sldMk cId="1344915621" sldId="3285"/>
        </pc:sldMkLst>
        <pc:spChg chg="mod">
          <ac:chgData name="Dominik Buchegger" userId="7f2052fac20aabcc" providerId="LiveId" clId="{D03414B5-9872-498A-96AA-A15B45DAD6F2}" dt="2023-10-27T06:43:25.988" v="6" actId="20577"/>
          <ac:spMkLst>
            <pc:docMk/>
            <pc:sldMk cId="1344915621" sldId="3285"/>
            <ac:spMk id="2" creationId="{76EA407A-0B5B-9B6F-C9D4-877962AE18C5}"/>
          </ac:spMkLst>
        </pc:spChg>
        <pc:picChg chg="del">
          <ac:chgData name="Dominik Buchegger" userId="7f2052fac20aabcc" providerId="LiveId" clId="{D03414B5-9872-498A-96AA-A15B45DAD6F2}" dt="2023-10-27T06:43:27.310" v="7" actId="478"/>
          <ac:picMkLst>
            <pc:docMk/>
            <pc:sldMk cId="1344915621" sldId="3285"/>
            <ac:picMk id="4" creationId="{F3BDE2B0-CA21-F63E-85B8-215A13A67B91}"/>
          </ac:picMkLst>
        </pc:picChg>
      </pc:sldChg>
    </pc:docChg>
  </pc:docChgLst>
  <pc:docChgLst>
    <pc:chgData name="Buchegger, Dominik" userId="4419538d-6150-464b-ac11-eb0323261855" providerId="ADAL" clId="{A0CC2E6C-E241-4647-A224-C6EBBD337061}"/>
    <pc:docChg chg="undo redo custSel addSld delSld modSld sldOrd">
      <pc:chgData name="Buchegger, Dominik" userId="4419538d-6150-464b-ac11-eb0323261855" providerId="ADAL" clId="{A0CC2E6C-E241-4647-A224-C6EBBD337061}" dt="2023-10-18T12:34:45.574" v="8643" actId="20577"/>
      <pc:docMkLst>
        <pc:docMk/>
      </pc:docMkLst>
      <pc:sldChg chg="addSp modSp mod">
        <pc:chgData name="Buchegger, Dominik" userId="4419538d-6150-464b-ac11-eb0323261855" providerId="ADAL" clId="{A0CC2E6C-E241-4647-A224-C6EBBD337061}" dt="2023-10-17T10:57:31.334" v="7040" actId="113"/>
        <pc:sldMkLst>
          <pc:docMk/>
          <pc:sldMk cId="1352991866" sldId="1492"/>
        </pc:sldMkLst>
        <pc:spChg chg="mod">
          <ac:chgData name="Buchegger, Dominik" userId="4419538d-6150-464b-ac11-eb0323261855" providerId="ADAL" clId="{A0CC2E6C-E241-4647-A224-C6EBBD337061}" dt="2023-10-17T10:57:31.334" v="7040" actId="113"/>
          <ac:spMkLst>
            <pc:docMk/>
            <pc:sldMk cId="1352991866" sldId="1492"/>
            <ac:spMk id="8" creationId="{E0EB712D-88FF-652F-AD07-EBE500FC8B72}"/>
          </ac:spMkLst>
        </pc:spChg>
        <pc:spChg chg="mod">
          <ac:chgData name="Buchegger, Dominik" userId="4419538d-6150-464b-ac11-eb0323261855" providerId="ADAL" clId="{A0CC2E6C-E241-4647-A224-C6EBBD337061}" dt="2023-10-17T10:35:06.024" v="5485" actId="6549"/>
          <ac:spMkLst>
            <pc:docMk/>
            <pc:sldMk cId="1352991866" sldId="1492"/>
            <ac:spMk id="9" creationId="{59B53215-B6F1-5EC0-B1AC-A12EE89612BE}"/>
          </ac:spMkLst>
        </pc:spChg>
        <pc:picChg chg="add mod">
          <ac:chgData name="Buchegger, Dominik" userId="4419538d-6150-464b-ac11-eb0323261855" providerId="ADAL" clId="{A0CC2E6C-E241-4647-A224-C6EBBD337061}" dt="2023-10-17T10:57:28.261" v="7039" actId="1076"/>
          <ac:picMkLst>
            <pc:docMk/>
            <pc:sldMk cId="1352991866" sldId="1492"/>
            <ac:picMk id="6" creationId="{4758B8CD-7D6B-CC0B-5225-823FC122B01C}"/>
          </ac:picMkLst>
        </pc:picChg>
      </pc:sldChg>
      <pc:sldChg chg="modSp mod">
        <pc:chgData name="Buchegger, Dominik" userId="4419538d-6150-464b-ac11-eb0323261855" providerId="ADAL" clId="{A0CC2E6C-E241-4647-A224-C6EBBD337061}" dt="2023-10-18T12:34:45.574" v="8643" actId="20577"/>
        <pc:sldMkLst>
          <pc:docMk/>
          <pc:sldMk cId="223196536" sldId="1512"/>
        </pc:sldMkLst>
        <pc:spChg chg="mod">
          <ac:chgData name="Buchegger, Dominik" userId="4419538d-6150-464b-ac11-eb0323261855" providerId="ADAL" clId="{A0CC2E6C-E241-4647-A224-C6EBBD337061}" dt="2023-10-18T12:34:45.574" v="8643" actId="20577"/>
          <ac:spMkLst>
            <pc:docMk/>
            <pc:sldMk cId="223196536" sldId="1512"/>
            <ac:spMk id="2" creationId="{C36256A2-67B2-CA01-7417-6A9C17C6B307}"/>
          </ac:spMkLst>
        </pc:spChg>
      </pc:sldChg>
      <pc:sldChg chg="addSp delSp modSp mod">
        <pc:chgData name="Buchegger, Dominik" userId="4419538d-6150-464b-ac11-eb0323261855" providerId="ADAL" clId="{A0CC2E6C-E241-4647-A224-C6EBBD337061}" dt="2023-10-18T12:07:17.235" v="8639" actId="1076"/>
        <pc:sldMkLst>
          <pc:docMk/>
          <pc:sldMk cId="3358819934" sldId="1547"/>
        </pc:sldMkLst>
        <pc:spChg chg="mod">
          <ac:chgData name="Buchegger, Dominik" userId="4419538d-6150-464b-ac11-eb0323261855" providerId="ADAL" clId="{A0CC2E6C-E241-4647-A224-C6EBBD337061}" dt="2023-10-13T12:00:17.194" v="123"/>
          <ac:spMkLst>
            <pc:docMk/>
            <pc:sldMk cId="3358819934" sldId="1547"/>
            <ac:spMk id="6" creationId="{A7A640A9-6A34-69B1-FD5F-F61CB2F90C3F}"/>
          </ac:spMkLst>
        </pc:spChg>
        <pc:spChg chg="add mod">
          <ac:chgData name="Buchegger, Dominik" userId="4419538d-6150-464b-ac11-eb0323261855" providerId="ADAL" clId="{A0CC2E6C-E241-4647-A224-C6EBBD337061}" dt="2023-10-18T12:07:17.235" v="8639" actId="1076"/>
          <ac:spMkLst>
            <pc:docMk/>
            <pc:sldMk cId="3358819934" sldId="1547"/>
            <ac:spMk id="11" creationId="{1BEB6413-A58C-29B3-567C-414CB671A9C2}"/>
          </ac:spMkLst>
        </pc:spChg>
        <pc:spChg chg="del mod">
          <ac:chgData name="Buchegger, Dominik" userId="4419538d-6150-464b-ac11-eb0323261855" providerId="ADAL" clId="{A0CC2E6C-E241-4647-A224-C6EBBD337061}" dt="2023-10-18T12:04:45.022" v="8504" actId="478"/>
          <ac:spMkLst>
            <pc:docMk/>
            <pc:sldMk cId="3358819934" sldId="1547"/>
            <ac:spMk id="18" creationId="{02AEDD7E-BC9D-5C65-E16D-12510BCDF4F5}"/>
          </ac:spMkLst>
        </pc:spChg>
      </pc:sldChg>
      <pc:sldChg chg="modSp add mod">
        <pc:chgData name="Buchegger, Dominik" userId="4419538d-6150-464b-ac11-eb0323261855" providerId="ADAL" clId="{A0CC2E6C-E241-4647-A224-C6EBBD337061}" dt="2023-10-13T11:54:30.393" v="14" actId="20577"/>
        <pc:sldMkLst>
          <pc:docMk/>
          <pc:sldMk cId="3157765586" sldId="1554"/>
        </pc:sldMkLst>
        <pc:spChg chg="mod">
          <ac:chgData name="Buchegger, Dominik" userId="4419538d-6150-464b-ac11-eb0323261855" providerId="ADAL" clId="{A0CC2E6C-E241-4647-A224-C6EBBD337061}" dt="2023-10-13T11:54:30.393" v="14" actId="20577"/>
          <ac:spMkLst>
            <pc:docMk/>
            <pc:sldMk cId="3157765586" sldId="1554"/>
            <ac:spMk id="2" creationId="{C36256A2-67B2-CA01-7417-6A9C17C6B307}"/>
          </ac:spMkLst>
        </pc:spChg>
      </pc:sldChg>
      <pc:sldChg chg="new del">
        <pc:chgData name="Buchegger, Dominik" userId="4419538d-6150-464b-ac11-eb0323261855" providerId="ADAL" clId="{A0CC2E6C-E241-4647-A224-C6EBBD337061}" dt="2023-10-13T12:26:43.982" v="1299" actId="47"/>
        <pc:sldMkLst>
          <pc:docMk/>
          <pc:sldMk cId="2265472563" sldId="1555"/>
        </pc:sldMkLst>
      </pc:sldChg>
      <pc:sldChg chg="addSp delSp modSp new del mod modClrScheme chgLayout">
        <pc:chgData name="Buchegger, Dominik" userId="4419538d-6150-464b-ac11-eb0323261855" providerId="ADAL" clId="{A0CC2E6C-E241-4647-A224-C6EBBD337061}" dt="2023-10-13T12:16:41.981" v="961" actId="47"/>
        <pc:sldMkLst>
          <pc:docMk/>
          <pc:sldMk cId="1085808285" sldId="1556"/>
        </pc:sldMkLst>
        <pc:spChg chg="mod ord">
          <ac:chgData name="Buchegger, Dominik" userId="4419538d-6150-464b-ac11-eb0323261855" providerId="ADAL" clId="{A0CC2E6C-E241-4647-A224-C6EBBD337061}" dt="2023-10-13T12:16:32.491" v="959" actId="700"/>
          <ac:spMkLst>
            <pc:docMk/>
            <pc:sldMk cId="1085808285" sldId="1556"/>
            <ac:spMk id="2" creationId="{9DD780D6-4A94-3BE7-4D70-07508E33B039}"/>
          </ac:spMkLst>
        </pc:spChg>
        <pc:spChg chg="add del mod ord">
          <ac:chgData name="Buchegger, Dominik" userId="4419538d-6150-464b-ac11-eb0323261855" providerId="ADAL" clId="{A0CC2E6C-E241-4647-A224-C6EBBD337061}" dt="2023-10-13T12:16:32.522" v="960" actId="27636"/>
          <ac:spMkLst>
            <pc:docMk/>
            <pc:sldMk cId="1085808285" sldId="1556"/>
            <ac:spMk id="3" creationId="{ABD00AF6-0D6A-AA6E-D3E8-9101E8447F77}"/>
          </ac:spMkLst>
        </pc:spChg>
        <pc:spChg chg="mod ord">
          <ac:chgData name="Buchegger, Dominik" userId="4419538d-6150-464b-ac11-eb0323261855" providerId="ADAL" clId="{A0CC2E6C-E241-4647-A224-C6EBBD337061}" dt="2023-10-13T12:16:32.491" v="959" actId="700"/>
          <ac:spMkLst>
            <pc:docMk/>
            <pc:sldMk cId="1085808285" sldId="1556"/>
            <ac:spMk id="4" creationId="{F4374962-F2A0-CAD3-9738-05F51009F09E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5" creationId="{1DB34FA3-8B6D-F691-32E3-1F4A56291C4B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6" creationId="{6B052637-ABC1-8166-0F9F-A075860D6BD9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7" creationId="{08041481-5ECD-CC47-5801-3AA3E13EB7D2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8" creationId="{BEEA88A8-5E50-F00D-638F-F0798D3A49EF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9" creationId="{1DBBE3E4-3CA0-32AD-3E3E-CC673EEB5FD6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0" creationId="{228312C7-42F6-0058-A647-A261FDBB1E37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1" creationId="{250C0DA8-19E4-E39E-ACBD-9D601914449C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2" creationId="{1AB1BBD4-CE3A-F046-D570-2D7AB513113F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3" creationId="{F778A260-08DE-2738-DEF2-22521A59A6E4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4" creationId="{9C90603C-BFEC-0625-504B-89B9B274609A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5" creationId="{32FD0D88-0E17-E424-34C6-ED0E869DACB2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6" creationId="{0C32C073-4E2F-CEF8-727E-39D17805C805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7" creationId="{B24DACD9-3C5F-6F52-B00A-E323745C66F9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8" creationId="{53C06CDE-B9E8-513D-8B22-4B6CCEDCDD47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9" creationId="{B126D96B-D7CC-7836-9633-AF26F9A46A69}"/>
          </ac:spMkLst>
        </pc:spChg>
        <pc:spChg chg="add del mod">
          <ac:chgData name="Buchegger, Dominik" userId="4419538d-6150-464b-ac11-eb0323261855" providerId="ADAL" clId="{A0CC2E6C-E241-4647-A224-C6EBBD337061}" dt="2023-10-13T12:00:06.834" v="115" actId="478"/>
          <ac:spMkLst>
            <pc:docMk/>
            <pc:sldMk cId="1085808285" sldId="1556"/>
            <ac:spMk id="22" creationId="{394C0373-3C50-0553-6A11-D32509E8C353}"/>
          </ac:spMkLst>
        </pc:spChg>
        <pc:spChg chg="add del mod">
          <ac:chgData name="Buchegger, Dominik" userId="4419538d-6150-464b-ac11-eb0323261855" providerId="ADAL" clId="{A0CC2E6C-E241-4647-A224-C6EBBD337061}" dt="2023-10-13T12:00:21.752" v="126" actId="478"/>
          <ac:spMkLst>
            <pc:docMk/>
            <pc:sldMk cId="1085808285" sldId="1556"/>
            <ac:spMk id="24" creationId="{04833178-FF7E-BB4F-C8D2-CDF62CE45BA2}"/>
          </ac:spMkLst>
        </pc:spChg>
        <pc:spChg chg="add mod">
          <ac:chgData name="Buchegger, Dominik" userId="4419538d-6150-464b-ac11-eb0323261855" providerId="ADAL" clId="{A0CC2E6C-E241-4647-A224-C6EBBD337061}" dt="2023-10-13T12:02:24.234" v="245" actId="20577"/>
          <ac:spMkLst>
            <pc:docMk/>
            <pc:sldMk cId="1085808285" sldId="1556"/>
            <ac:spMk id="25" creationId="{8B40D517-2B27-E3CD-A044-A64A15D05BED}"/>
          </ac:spMkLst>
        </pc:spChg>
        <pc:spChg chg="add del mod ord">
          <ac:chgData name="Buchegger, Dominik" userId="4419538d-6150-464b-ac11-eb0323261855" providerId="ADAL" clId="{A0CC2E6C-E241-4647-A224-C6EBBD337061}" dt="2023-10-13T12:04:46.193" v="303" actId="22"/>
          <ac:spMkLst>
            <pc:docMk/>
            <pc:sldMk cId="1085808285" sldId="1556"/>
            <ac:spMk id="26" creationId="{B051DEFA-B48A-F2CB-CB42-6D81DC2D5EE6}"/>
          </ac:spMkLst>
        </pc:spChg>
        <pc:spChg chg="add del mod ord">
          <ac:chgData name="Buchegger, Dominik" userId="4419538d-6150-464b-ac11-eb0323261855" providerId="ADAL" clId="{A0CC2E6C-E241-4647-A224-C6EBBD337061}" dt="2023-10-13T12:16:32.491" v="959" actId="700"/>
          <ac:spMkLst>
            <pc:docMk/>
            <pc:sldMk cId="1085808285" sldId="1556"/>
            <ac:spMk id="27" creationId="{F87C0F6D-3113-331F-E9CB-F3C138536B34}"/>
          </ac:spMkLst>
        </pc:spChg>
        <pc:spChg chg="add mod ord">
          <ac:chgData name="Buchegger, Dominik" userId="4419538d-6150-464b-ac11-eb0323261855" providerId="ADAL" clId="{A0CC2E6C-E241-4647-A224-C6EBBD337061}" dt="2023-10-13T12:16:32.491" v="959" actId="700"/>
          <ac:spMkLst>
            <pc:docMk/>
            <pc:sldMk cId="1085808285" sldId="1556"/>
            <ac:spMk id="28" creationId="{4DF741A3-F41C-557C-B7CF-90E0E74F1495}"/>
          </ac:spMkLst>
        </pc:spChg>
        <pc:spChg chg="add mod ord">
          <ac:chgData name="Buchegger, Dominik" userId="4419538d-6150-464b-ac11-eb0323261855" providerId="ADAL" clId="{A0CC2E6C-E241-4647-A224-C6EBBD337061}" dt="2023-10-13T12:16:32.491" v="959" actId="700"/>
          <ac:spMkLst>
            <pc:docMk/>
            <pc:sldMk cId="1085808285" sldId="1556"/>
            <ac:spMk id="29" creationId="{03BB6E98-B0B9-343D-A050-3FEBBDDB6D85}"/>
          </ac:spMkLst>
        </pc:spChg>
        <pc:spChg chg="add del mod">
          <ac:chgData name="Buchegger, Dominik" userId="4419538d-6150-464b-ac11-eb0323261855" providerId="ADAL" clId="{A0CC2E6C-E241-4647-A224-C6EBBD337061}" dt="2023-10-13T12:09:17.269" v="671" actId="478"/>
          <ac:spMkLst>
            <pc:docMk/>
            <pc:sldMk cId="1085808285" sldId="1556"/>
            <ac:spMk id="36" creationId="{162083B8-77F6-AEB0-951C-ECED5833D029}"/>
          </ac:spMkLst>
        </pc:spChg>
        <pc:spChg chg="add mod">
          <ac:chgData name="Buchegger, Dominik" userId="4419538d-6150-464b-ac11-eb0323261855" providerId="ADAL" clId="{A0CC2E6C-E241-4647-A224-C6EBBD337061}" dt="2023-10-13T12:16:13.171" v="955" actId="1076"/>
          <ac:spMkLst>
            <pc:docMk/>
            <pc:sldMk cId="1085808285" sldId="1556"/>
            <ac:spMk id="37" creationId="{69EA6C26-B92C-17EB-B9D0-47FF294E3AAF}"/>
          </ac:spMkLst>
        </pc:spChg>
        <pc:spChg chg="add del mod">
          <ac:chgData name="Buchegger, Dominik" userId="4419538d-6150-464b-ac11-eb0323261855" providerId="ADAL" clId="{A0CC2E6C-E241-4647-A224-C6EBBD337061}" dt="2023-10-13T12:16:18.195" v="957" actId="478"/>
          <ac:spMkLst>
            <pc:docMk/>
            <pc:sldMk cId="1085808285" sldId="1556"/>
            <ac:spMk id="43" creationId="{EDFDCF18-90A4-0E1C-ABA9-7E0E1D1E7E9B}"/>
          </ac:spMkLst>
        </pc:spChg>
        <pc:spChg chg="add mod ord">
          <ac:chgData name="Buchegger, Dominik" userId="4419538d-6150-464b-ac11-eb0323261855" providerId="ADAL" clId="{A0CC2E6C-E241-4647-A224-C6EBBD337061}" dt="2023-10-13T12:16:32.491" v="959" actId="700"/>
          <ac:spMkLst>
            <pc:docMk/>
            <pc:sldMk cId="1085808285" sldId="1556"/>
            <ac:spMk id="44" creationId="{66CAF73C-EE03-FD6A-D026-202147CEEBC9}"/>
          </ac:spMkLst>
        </pc:spChg>
        <pc:picChg chg="add del mod">
          <ac:chgData name="Buchegger, Dominik" userId="4419538d-6150-464b-ac11-eb0323261855" providerId="ADAL" clId="{A0CC2E6C-E241-4647-A224-C6EBBD337061}" dt="2023-10-13T12:00:07.920" v="116" actId="478"/>
          <ac:picMkLst>
            <pc:docMk/>
            <pc:sldMk cId="1085808285" sldId="1556"/>
            <ac:picMk id="21" creationId="{EE6D8937-16CA-272E-54F2-292E2F0479FD}"/>
          </ac:picMkLst>
        </pc:picChg>
        <pc:picChg chg="add mod ord">
          <ac:chgData name="Buchegger, Dominik" userId="4419538d-6150-464b-ac11-eb0323261855" providerId="ADAL" clId="{A0CC2E6C-E241-4647-A224-C6EBBD337061}" dt="2023-10-13T12:16:32.491" v="959" actId="700"/>
          <ac:picMkLst>
            <pc:docMk/>
            <pc:sldMk cId="1085808285" sldId="1556"/>
            <ac:picMk id="31" creationId="{A6AC83D8-CA8A-400F-A0D9-127D600AA199}"/>
          </ac:picMkLst>
        </pc:picChg>
        <pc:picChg chg="add mod">
          <ac:chgData name="Buchegger, Dominik" userId="4419538d-6150-464b-ac11-eb0323261855" providerId="ADAL" clId="{A0CC2E6C-E241-4647-A224-C6EBBD337061}" dt="2023-10-13T12:11:48.050" v="762" actId="1076"/>
          <ac:picMkLst>
            <pc:docMk/>
            <pc:sldMk cId="1085808285" sldId="1556"/>
            <ac:picMk id="33" creationId="{79EBA821-BA07-20FF-41BF-F2EA4B91FC5E}"/>
          </ac:picMkLst>
        </pc:picChg>
        <pc:picChg chg="add mod">
          <ac:chgData name="Buchegger, Dominik" userId="4419538d-6150-464b-ac11-eb0323261855" providerId="ADAL" clId="{A0CC2E6C-E241-4647-A224-C6EBBD337061}" dt="2023-10-13T12:06:17.753" v="377" actId="1076"/>
          <ac:picMkLst>
            <pc:docMk/>
            <pc:sldMk cId="1085808285" sldId="1556"/>
            <ac:picMk id="35" creationId="{16BFD73D-B884-AAB9-6373-608F43634AEB}"/>
          </ac:picMkLst>
        </pc:picChg>
        <pc:picChg chg="add mod">
          <ac:chgData name="Buchegger, Dominik" userId="4419538d-6150-464b-ac11-eb0323261855" providerId="ADAL" clId="{A0CC2E6C-E241-4647-A224-C6EBBD337061}" dt="2023-10-13T12:12:54.281" v="772" actId="14100"/>
          <ac:picMkLst>
            <pc:docMk/>
            <pc:sldMk cId="1085808285" sldId="1556"/>
            <ac:picMk id="39" creationId="{284BBD87-5455-5DB1-1F94-8F7D3CA4F191}"/>
          </ac:picMkLst>
        </pc:picChg>
        <pc:picChg chg="add mod">
          <ac:chgData name="Buchegger, Dominik" userId="4419538d-6150-464b-ac11-eb0323261855" providerId="ADAL" clId="{A0CC2E6C-E241-4647-A224-C6EBBD337061}" dt="2023-10-13T12:12:42.628" v="768" actId="1076"/>
          <ac:picMkLst>
            <pc:docMk/>
            <pc:sldMk cId="1085808285" sldId="1556"/>
            <ac:picMk id="41" creationId="{FA2C8174-AF24-5E24-B8FF-C243F9CAD1EB}"/>
          </ac:picMkLst>
        </pc:picChg>
      </pc:sldChg>
      <pc:sldChg chg="modSp add del mod">
        <pc:chgData name="Buchegger, Dominik" userId="4419538d-6150-464b-ac11-eb0323261855" providerId="ADAL" clId="{A0CC2E6C-E241-4647-A224-C6EBBD337061}" dt="2023-10-13T12:38:33.757" v="1965" actId="47"/>
        <pc:sldMkLst>
          <pc:docMk/>
          <pc:sldMk cId="3258080159" sldId="1557"/>
        </pc:sldMkLst>
        <pc:spChg chg="mod">
          <ac:chgData name="Buchegger, Dominik" userId="4419538d-6150-464b-ac11-eb0323261855" providerId="ADAL" clId="{A0CC2E6C-E241-4647-A224-C6EBBD337061}" dt="2023-10-13T12:37:05.146" v="1941" actId="20577"/>
          <ac:spMkLst>
            <pc:docMk/>
            <pc:sldMk cId="3258080159" sldId="1557"/>
            <ac:spMk id="3" creationId="{ABD00AF6-0D6A-AA6E-D3E8-9101E8447F77}"/>
          </ac:spMkLst>
        </pc:spChg>
        <pc:spChg chg="mod">
          <ac:chgData name="Buchegger, Dominik" userId="4419538d-6150-464b-ac11-eb0323261855" providerId="ADAL" clId="{A0CC2E6C-E241-4647-A224-C6EBBD337061}" dt="2023-10-13T12:37:12.208" v="1943" actId="27636"/>
          <ac:spMkLst>
            <pc:docMk/>
            <pc:sldMk cId="3258080159" sldId="1557"/>
            <ac:spMk id="26" creationId="{B051DEFA-B48A-F2CB-CB42-6D81DC2D5EE6}"/>
          </ac:spMkLst>
        </pc:spChg>
      </pc:sldChg>
      <pc:sldChg chg="addSp modSp add mod">
        <pc:chgData name="Buchegger, Dominik" userId="4419538d-6150-464b-ac11-eb0323261855" providerId="ADAL" clId="{A0CC2E6C-E241-4647-A224-C6EBBD337061}" dt="2023-10-18T08:11:24.172" v="8483" actId="20577"/>
        <pc:sldMkLst>
          <pc:docMk/>
          <pc:sldMk cId="4079475378" sldId="1558"/>
        </pc:sldMkLst>
        <pc:spChg chg="mod">
          <ac:chgData name="Buchegger, Dominik" userId="4419538d-6150-464b-ac11-eb0323261855" providerId="ADAL" clId="{A0CC2E6C-E241-4647-A224-C6EBBD337061}" dt="2023-10-13T12:37:57.686" v="1963" actId="27636"/>
          <ac:spMkLst>
            <pc:docMk/>
            <pc:sldMk cId="4079475378" sldId="1558"/>
            <ac:spMk id="3" creationId="{ABD00AF6-0D6A-AA6E-D3E8-9101E8447F77}"/>
          </ac:spMkLst>
        </pc:spChg>
        <pc:spChg chg="add mod">
          <ac:chgData name="Buchegger, Dominik" userId="4419538d-6150-464b-ac11-eb0323261855" providerId="ADAL" clId="{A0CC2E6C-E241-4647-A224-C6EBBD337061}" dt="2023-10-13T12:37:29.720" v="1945" actId="20577"/>
          <ac:spMkLst>
            <pc:docMk/>
            <pc:sldMk cId="4079475378" sldId="1558"/>
            <ac:spMk id="5" creationId="{69CF9770-F855-4D82-2C11-C92A7EDD2DA7}"/>
          </ac:spMkLst>
        </pc:spChg>
        <pc:spChg chg="add mod">
          <ac:chgData name="Buchegger, Dominik" userId="4419538d-6150-464b-ac11-eb0323261855" providerId="ADAL" clId="{A0CC2E6C-E241-4647-A224-C6EBBD337061}" dt="2023-10-13T12:21:46.457" v="1233" actId="1076"/>
          <ac:spMkLst>
            <pc:docMk/>
            <pc:sldMk cId="4079475378" sldId="1558"/>
            <ac:spMk id="6" creationId="{430275FF-4F5F-6E0B-939A-1DE208877C28}"/>
          </ac:spMkLst>
        </pc:spChg>
        <pc:spChg chg="add mod">
          <ac:chgData name="Buchegger, Dominik" userId="4419538d-6150-464b-ac11-eb0323261855" providerId="ADAL" clId="{A0CC2E6C-E241-4647-A224-C6EBBD337061}" dt="2023-10-13T12:35:35.434" v="1849" actId="1076"/>
          <ac:spMkLst>
            <pc:docMk/>
            <pc:sldMk cId="4079475378" sldId="1558"/>
            <ac:spMk id="18" creationId="{B3635D9A-9078-76A6-F248-923ED65D77D6}"/>
          </ac:spMkLst>
        </pc:spChg>
        <pc:spChg chg="mod">
          <ac:chgData name="Buchegger, Dominik" userId="4419538d-6150-464b-ac11-eb0323261855" providerId="ADAL" clId="{A0CC2E6C-E241-4647-A224-C6EBBD337061}" dt="2023-10-18T08:11:24.172" v="8483" actId="20577"/>
          <ac:spMkLst>
            <pc:docMk/>
            <pc:sldMk cId="4079475378" sldId="1558"/>
            <ac:spMk id="27" creationId="{F87C0F6D-3113-331F-E9CB-F3C138536B34}"/>
          </ac:spMkLst>
        </pc:spChg>
        <pc:spChg chg="mod">
          <ac:chgData name="Buchegger, Dominik" userId="4419538d-6150-464b-ac11-eb0323261855" providerId="ADAL" clId="{A0CC2E6C-E241-4647-A224-C6EBBD337061}" dt="2023-10-13T12:18:58.013" v="1014" actId="1076"/>
          <ac:spMkLst>
            <pc:docMk/>
            <pc:sldMk cId="4079475378" sldId="1558"/>
            <ac:spMk id="28" creationId="{4DF741A3-F41C-557C-B7CF-90E0E74F1495}"/>
          </ac:spMkLst>
        </pc:spChg>
        <pc:spChg chg="mod">
          <ac:chgData name="Buchegger, Dominik" userId="4419538d-6150-464b-ac11-eb0323261855" providerId="ADAL" clId="{A0CC2E6C-E241-4647-A224-C6EBBD337061}" dt="2023-10-13T12:19:18.388" v="1022" actId="1076"/>
          <ac:spMkLst>
            <pc:docMk/>
            <pc:sldMk cId="4079475378" sldId="1558"/>
            <ac:spMk id="29" creationId="{03BB6E98-B0B9-343D-A050-3FEBBDDB6D85}"/>
          </ac:spMkLst>
        </pc:spChg>
        <pc:spChg chg="mod">
          <ac:chgData name="Buchegger, Dominik" userId="4419538d-6150-464b-ac11-eb0323261855" providerId="ADAL" clId="{A0CC2E6C-E241-4647-A224-C6EBBD337061}" dt="2023-10-13T12:25:54.656" v="1289" actId="1076"/>
          <ac:spMkLst>
            <pc:docMk/>
            <pc:sldMk cId="4079475378" sldId="1558"/>
            <ac:spMk id="37" creationId="{69EA6C26-B92C-17EB-B9D0-47FF294E3AAF}"/>
          </ac:spMkLst>
        </pc:spChg>
        <pc:picChg chg="add mod">
          <ac:chgData name="Buchegger, Dominik" userId="4419538d-6150-464b-ac11-eb0323261855" providerId="ADAL" clId="{A0CC2E6C-E241-4647-A224-C6EBBD337061}" dt="2023-10-13T12:23:40.526" v="1250" actId="1076"/>
          <ac:picMkLst>
            <pc:docMk/>
            <pc:sldMk cId="4079475378" sldId="1558"/>
            <ac:picMk id="8" creationId="{00499EE0-4A30-CDA8-14B8-CCB57BA8CB74}"/>
          </ac:picMkLst>
        </pc:picChg>
        <pc:picChg chg="add mod">
          <ac:chgData name="Buchegger, Dominik" userId="4419538d-6150-464b-ac11-eb0323261855" providerId="ADAL" clId="{A0CC2E6C-E241-4647-A224-C6EBBD337061}" dt="2023-10-13T12:25:47.835" v="1288" actId="1076"/>
          <ac:picMkLst>
            <pc:docMk/>
            <pc:sldMk cId="4079475378" sldId="1558"/>
            <ac:picMk id="9" creationId="{8F2A88BA-8FFB-A321-741A-14DDBDF54449}"/>
          </ac:picMkLst>
        </pc:picChg>
        <pc:picChg chg="add mod">
          <ac:chgData name="Buchegger, Dominik" userId="4419538d-6150-464b-ac11-eb0323261855" providerId="ADAL" clId="{A0CC2E6C-E241-4647-A224-C6EBBD337061}" dt="2023-10-13T12:23:46.531" v="1251" actId="1076"/>
          <ac:picMkLst>
            <pc:docMk/>
            <pc:sldMk cId="4079475378" sldId="1558"/>
            <ac:picMk id="10" creationId="{FD43A1AF-55E7-7F7D-8917-5B07BC3BF9C7}"/>
          </ac:picMkLst>
        </pc:picChg>
        <pc:picChg chg="add mod">
          <ac:chgData name="Buchegger, Dominik" userId="4419538d-6150-464b-ac11-eb0323261855" providerId="ADAL" clId="{A0CC2E6C-E241-4647-A224-C6EBBD337061}" dt="2023-10-13T12:24:49.342" v="1265" actId="1076"/>
          <ac:picMkLst>
            <pc:docMk/>
            <pc:sldMk cId="4079475378" sldId="1558"/>
            <ac:picMk id="12" creationId="{CF201B52-9DCF-6D8C-D066-5C2C92C11BF2}"/>
          </ac:picMkLst>
        </pc:picChg>
        <pc:picChg chg="add mod">
          <ac:chgData name="Buchegger, Dominik" userId="4419538d-6150-464b-ac11-eb0323261855" providerId="ADAL" clId="{A0CC2E6C-E241-4647-A224-C6EBBD337061}" dt="2023-10-13T12:25:29.587" v="1282" actId="1076"/>
          <ac:picMkLst>
            <pc:docMk/>
            <pc:sldMk cId="4079475378" sldId="1558"/>
            <ac:picMk id="13" creationId="{11B44C0C-5B0B-CC96-A741-127641EF6F93}"/>
          </ac:picMkLst>
        </pc:picChg>
        <pc:picChg chg="add mod">
          <ac:chgData name="Buchegger, Dominik" userId="4419538d-6150-464b-ac11-eb0323261855" providerId="ADAL" clId="{A0CC2E6C-E241-4647-A224-C6EBBD337061}" dt="2023-10-13T12:25:20.929" v="1280" actId="1076"/>
          <ac:picMkLst>
            <pc:docMk/>
            <pc:sldMk cId="4079475378" sldId="1558"/>
            <ac:picMk id="14" creationId="{82F6397F-EDBC-8289-2AE0-6374D38357D9}"/>
          </ac:picMkLst>
        </pc:picChg>
        <pc:picChg chg="mod">
          <ac:chgData name="Buchegger, Dominik" userId="4419538d-6150-464b-ac11-eb0323261855" providerId="ADAL" clId="{A0CC2E6C-E241-4647-A224-C6EBBD337061}" dt="2023-10-13T12:20:28.496" v="1037" actId="1076"/>
          <ac:picMkLst>
            <pc:docMk/>
            <pc:sldMk cId="4079475378" sldId="1558"/>
            <ac:picMk id="31" creationId="{A6AC83D8-CA8A-400F-A0D9-127D600AA199}"/>
          </ac:picMkLst>
        </pc:picChg>
        <pc:picChg chg="mod">
          <ac:chgData name="Buchegger, Dominik" userId="4419538d-6150-464b-ac11-eb0323261855" providerId="ADAL" clId="{A0CC2E6C-E241-4647-A224-C6EBBD337061}" dt="2023-10-13T12:20:15.596" v="1035" actId="1076"/>
          <ac:picMkLst>
            <pc:docMk/>
            <pc:sldMk cId="4079475378" sldId="1558"/>
            <ac:picMk id="33" creationId="{79EBA821-BA07-20FF-41BF-F2EA4B91FC5E}"/>
          </ac:picMkLst>
        </pc:picChg>
        <pc:picChg chg="mod">
          <ac:chgData name="Buchegger, Dominik" userId="4419538d-6150-464b-ac11-eb0323261855" providerId="ADAL" clId="{A0CC2E6C-E241-4647-A224-C6EBBD337061}" dt="2023-10-13T12:20:11.224" v="1033" actId="1076"/>
          <ac:picMkLst>
            <pc:docMk/>
            <pc:sldMk cId="4079475378" sldId="1558"/>
            <ac:picMk id="39" creationId="{284BBD87-5455-5DB1-1F94-8F7D3CA4F191}"/>
          </ac:picMkLst>
        </pc:picChg>
        <pc:picChg chg="mod">
          <ac:chgData name="Buchegger, Dominik" userId="4419538d-6150-464b-ac11-eb0323261855" providerId="ADAL" clId="{A0CC2E6C-E241-4647-A224-C6EBBD337061}" dt="2023-10-13T12:20:31.812" v="1038" actId="1076"/>
          <ac:picMkLst>
            <pc:docMk/>
            <pc:sldMk cId="4079475378" sldId="1558"/>
            <ac:picMk id="41" creationId="{FA2C8174-AF24-5E24-B8FF-C243F9CAD1EB}"/>
          </ac:picMkLst>
        </pc:picChg>
        <pc:cxnChg chg="add mod">
          <ac:chgData name="Buchegger, Dominik" userId="4419538d-6150-464b-ac11-eb0323261855" providerId="ADAL" clId="{A0CC2E6C-E241-4647-A224-C6EBBD337061}" dt="2023-10-13T12:26:30.359" v="1298" actId="1076"/>
          <ac:cxnSpMkLst>
            <pc:docMk/>
            <pc:sldMk cId="4079475378" sldId="1558"/>
            <ac:cxnSpMk id="16" creationId="{FC6C000B-DAD0-B1D9-3F0F-7F8633934769}"/>
          </ac:cxnSpMkLst>
        </pc:cxnChg>
      </pc:sldChg>
      <pc:sldChg chg="addSp delSp modSp new del mod modClrScheme chgLayout">
        <pc:chgData name="Buchegger, Dominik" userId="4419538d-6150-464b-ac11-eb0323261855" providerId="ADAL" clId="{A0CC2E6C-E241-4647-A224-C6EBBD337061}" dt="2023-10-13T13:25:04.862" v="5014" actId="47"/>
        <pc:sldMkLst>
          <pc:docMk/>
          <pc:sldMk cId="2319312347" sldId="1559"/>
        </pc:sldMkLst>
        <pc:spChg chg="mod">
          <ac:chgData name="Buchegger, Dominik" userId="4419538d-6150-464b-ac11-eb0323261855" providerId="ADAL" clId="{A0CC2E6C-E241-4647-A224-C6EBBD337061}" dt="2023-10-13T13:25:02.159" v="5012" actId="21"/>
          <ac:spMkLst>
            <pc:docMk/>
            <pc:sldMk cId="2319312347" sldId="1559"/>
            <ac:spMk id="2" creationId="{58E7CAC4-6CAE-6D60-A7A7-B8CCCD25D5C7}"/>
          </ac:spMkLst>
        </pc:spChg>
        <pc:spChg chg="del mod">
          <ac:chgData name="Buchegger, Dominik" userId="4419538d-6150-464b-ac11-eb0323261855" providerId="ADAL" clId="{A0CC2E6C-E241-4647-A224-C6EBBD337061}" dt="2023-10-13T13:04:12.761" v="3772" actId="26606"/>
          <ac:spMkLst>
            <pc:docMk/>
            <pc:sldMk cId="2319312347" sldId="1559"/>
            <ac:spMk id="3" creationId="{186F074D-C89C-119C-8E94-44C88C8549F6}"/>
          </ac:spMkLst>
        </pc:spChg>
        <pc:spChg chg="mod">
          <ac:chgData name="Buchegger, Dominik" userId="4419538d-6150-464b-ac11-eb0323261855" providerId="ADAL" clId="{A0CC2E6C-E241-4647-A224-C6EBBD337061}" dt="2023-10-13T13:05:41.831" v="3853" actId="26606"/>
          <ac:spMkLst>
            <pc:docMk/>
            <pc:sldMk cId="2319312347" sldId="1559"/>
            <ac:spMk id="4" creationId="{3035BD13-DA3B-624B-AC91-70D922A9A9CB}"/>
          </ac:spMkLst>
        </pc:spChg>
        <pc:spChg chg="add del mod">
          <ac:chgData name="Buchegger, Dominik" userId="4419538d-6150-464b-ac11-eb0323261855" providerId="ADAL" clId="{A0CC2E6C-E241-4647-A224-C6EBBD337061}" dt="2023-10-13T13:05:41.831" v="3853" actId="26606"/>
          <ac:spMkLst>
            <pc:docMk/>
            <pc:sldMk cId="2319312347" sldId="1559"/>
            <ac:spMk id="10" creationId="{34F1F434-DDE2-24B7-A1D7-499048CA4F23}"/>
          </ac:spMkLst>
        </pc:spChg>
        <pc:graphicFrameChg chg="add mod modGraphic">
          <ac:chgData name="Buchegger, Dominik" userId="4419538d-6150-464b-ac11-eb0323261855" providerId="ADAL" clId="{A0CC2E6C-E241-4647-A224-C6EBBD337061}" dt="2023-10-13T13:21:39.781" v="4883"/>
          <ac:graphicFrameMkLst>
            <pc:docMk/>
            <pc:sldMk cId="2319312347" sldId="1559"/>
            <ac:graphicFrameMk id="6" creationId="{8C7AA73A-80FA-38DA-6E3F-83E43DDB50DF}"/>
          </ac:graphicFrameMkLst>
        </pc:graphicFrameChg>
      </pc:sldChg>
      <pc:sldChg chg="addSp modSp new del mod modClrScheme chgLayout">
        <pc:chgData name="Buchegger, Dominik" userId="4419538d-6150-464b-ac11-eb0323261855" providerId="ADAL" clId="{A0CC2E6C-E241-4647-A224-C6EBBD337061}" dt="2023-10-18T07:52:16.841" v="7866" actId="47"/>
        <pc:sldMkLst>
          <pc:docMk/>
          <pc:sldMk cId="1140907490" sldId="1560"/>
        </pc:sldMkLst>
        <pc:spChg chg="mod ord">
          <ac:chgData name="Buchegger, Dominik" userId="4419538d-6150-464b-ac11-eb0323261855" providerId="ADAL" clId="{A0CC2E6C-E241-4647-A224-C6EBBD337061}" dt="2023-10-13T13:01:00.734" v="3497" actId="20577"/>
          <ac:spMkLst>
            <pc:docMk/>
            <pc:sldMk cId="1140907490" sldId="1560"/>
            <ac:spMk id="2" creationId="{341851AB-ECB2-F17C-3E4D-1E303F9D53AB}"/>
          </ac:spMkLst>
        </pc:spChg>
        <pc:spChg chg="mod ord">
          <ac:chgData name="Buchegger, Dominik" userId="4419538d-6150-464b-ac11-eb0323261855" providerId="ADAL" clId="{A0CC2E6C-E241-4647-A224-C6EBBD337061}" dt="2023-10-13T13:30:44.440" v="5206" actId="20577"/>
          <ac:spMkLst>
            <pc:docMk/>
            <pc:sldMk cId="1140907490" sldId="1560"/>
            <ac:spMk id="3" creationId="{74CDBB7D-2923-FC10-F22A-969AB91FC5BF}"/>
          </ac:spMkLst>
        </pc:spChg>
        <pc:spChg chg="mod ord">
          <ac:chgData name="Buchegger, Dominik" userId="4419538d-6150-464b-ac11-eb0323261855" providerId="ADAL" clId="{A0CC2E6C-E241-4647-A224-C6EBBD337061}" dt="2023-10-13T13:00:45.113" v="3477" actId="700"/>
          <ac:spMkLst>
            <pc:docMk/>
            <pc:sldMk cId="1140907490" sldId="1560"/>
            <ac:spMk id="4" creationId="{434A678B-DACF-D55A-C2DE-26C1DBE6C4DE}"/>
          </ac:spMkLst>
        </pc:spChg>
        <pc:spChg chg="add mod ord">
          <ac:chgData name="Buchegger, Dominik" userId="4419538d-6150-464b-ac11-eb0323261855" providerId="ADAL" clId="{A0CC2E6C-E241-4647-A224-C6EBBD337061}" dt="2023-10-13T13:00:45.113" v="3477" actId="700"/>
          <ac:spMkLst>
            <pc:docMk/>
            <pc:sldMk cId="1140907490" sldId="1560"/>
            <ac:spMk id="5" creationId="{58487C1B-BCA9-113A-4A50-197FBA0711EB}"/>
          </ac:spMkLst>
        </pc:spChg>
        <pc:spChg chg="add mod ord">
          <ac:chgData name="Buchegger, Dominik" userId="4419538d-6150-464b-ac11-eb0323261855" providerId="ADAL" clId="{A0CC2E6C-E241-4647-A224-C6EBBD337061}" dt="2023-10-13T13:02:29.193" v="3713" actId="20577"/>
          <ac:spMkLst>
            <pc:docMk/>
            <pc:sldMk cId="1140907490" sldId="1560"/>
            <ac:spMk id="6" creationId="{55D629D8-4129-A3EF-50F3-130621B3883B}"/>
          </ac:spMkLst>
        </pc:spChg>
        <pc:spChg chg="add mod ord">
          <ac:chgData name="Buchegger, Dominik" userId="4419538d-6150-464b-ac11-eb0323261855" providerId="ADAL" clId="{A0CC2E6C-E241-4647-A224-C6EBBD337061}" dt="2023-10-13T13:00:45.113" v="3477" actId="700"/>
          <ac:spMkLst>
            <pc:docMk/>
            <pc:sldMk cId="1140907490" sldId="1560"/>
            <ac:spMk id="7" creationId="{A677D32C-1D1D-CD12-415D-A3F29F1F812E}"/>
          </ac:spMkLst>
        </pc:spChg>
      </pc:sldChg>
      <pc:sldChg chg="addSp delSp modSp add mod">
        <pc:chgData name="Buchegger, Dominik" userId="4419538d-6150-464b-ac11-eb0323261855" providerId="ADAL" clId="{A0CC2E6C-E241-4647-A224-C6EBBD337061}" dt="2023-10-18T08:11:21.867" v="8481" actId="20577"/>
        <pc:sldMkLst>
          <pc:docMk/>
          <pc:sldMk cId="1024490026" sldId="1561"/>
        </pc:sldMkLst>
        <pc:spChg chg="mod">
          <ac:chgData name="Buchegger, Dominik" userId="4419538d-6150-464b-ac11-eb0323261855" providerId="ADAL" clId="{A0CC2E6C-E241-4647-A224-C6EBBD337061}" dt="2023-10-13T12:31:34.267" v="1663" actId="6549"/>
          <ac:spMkLst>
            <pc:docMk/>
            <pc:sldMk cId="1024490026" sldId="1561"/>
            <ac:spMk id="3" creationId="{ABD00AF6-0D6A-AA6E-D3E8-9101E8447F77}"/>
          </ac:spMkLst>
        </pc:spChg>
        <pc:spChg chg="del">
          <ac:chgData name="Buchegger, Dominik" userId="4419538d-6150-464b-ac11-eb0323261855" providerId="ADAL" clId="{A0CC2E6C-E241-4647-A224-C6EBBD337061}" dt="2023-10-13T12:49:18.904" v="2871" actId="478"/>
          <ac:spMkLst>
            <pc:docMk/>
            <pc:sldMk cId="1024490026" sldId="1561"/>
            <ac:spMk id="5" creationId="{69CF9770-F855-4D82-2C11-C92A7EDD2DA7}"/>
          </ac:spMkLst>
        </pc:spChg>
        <pc:spChg chg="mod">
          <ac:chgData name="Buchegger, Dominik" userId="4419538d-6150-464b-ac11-eb0323261855" providerId="ADAL" clId="{A0CC2E6C-E241-4647-A224-C6EBBD337061}" dt="2023-10-13T12:56:56.809" v="3419" actId="1076"/>
          <ac:spMkLst>
            <pc:docMk/>
            <pc:sldMk cId="1024490026" sldId="1561"/>
            <ac:spMk id="6" creationId="{430275FF-4F5F-6E0B-939A-1DE208877C28}"/>
          </ac:spMkLst>
        </pc:spChg>
        <pc:spChg chg="add mod">
          <ac:chgData name="Buchegger, Dominik" userId="4419538d-6150-464b-ac11-eb0323261855" providerId="ADAL" clId="{A0CC2E6C-E241-4647-A224-C6EBBD337061}" dt="2023-10-13T12:38:23.830" v="1964" actId="1076"/>
          <ac:spMkLst>
            <pc:docMk/>
            <pc:sldMk cId="1024490026" sldId="1561"/>
            <ac:spMk id="7" creationId="{B891DCFA-9B24-F317-3DE6-EDA142D4816A}"/>
          </ac:spMkLst>
        </pc:spChg>
        <pc:spChg chg="add del mod">
          <ac:chgData name="Buchegger, Dominik" userId="4419538d-6150-464b-ac11-eb0323261855" providerId="ADAL" clId="{A0CC2E6C-E241-4647-A224-C6EBBD337061}" dt="2023-10-13T12:49:29.872" v="2876" actId="478"/>
          <ac:spMkLst>
            <pc:docMk/>
            <pc:sldMk cId="1024490026" sldId="1561"/>
            <ac:spMk id="15" creationId="{74A9653A-F478-A481-6DA1-0D23293FC4B2}"/>
          </ac:spMkLst>
        </pc:spChg>
        <pc:spChg chg="add mod">
          <ac:chgData name="Buchegger, Dominik" userId="4419538d-6150-464b-ac11-eb0323261855" providerId="ADAL" clId="{A0CC2E6C-E241-4647-A224-C6EBBD337061}" dt="2023-10-13T12:50:17.517" v="2988" actId="20577"/>
          <ac:spMkLst>
            <pc:docMk/>
            <pc:sldMk cId="1024490026" sldId="1561"/>
            <ac:spMk id="17" creationId="{D7E59BDE-6F0B-817B-66E0-C706A2BB5D3D}"/>
          </ac:spMkLst>
        </pc:spChg>
        <pc:spChg chg="add mod">
          <ac:chgData name="Buchegger, Dominik" userId="4419538d-6150-464b-ac11-eb0323261855" providerId="ADAL" clId="{A0CC2E6C-E241-4647-A224-C6EBBD337061}" dt="2023-10-13T12:56:08.135" v="3392" actId="404"/>
          <ac:spMkLst>
            <pc:docMk/>
            <pc:sldMk cId="1024490026" sldId="1561"/>
            <ac:spMk id="20" creationId="{C634D4BC-7A10-C25C-B005-3A567B502073}"/>
          </ac:spMkLst>
        </pc:spChg>
        <pc:spChg chg="add del mod">
          <ac:chgData name="Buchegger, Dominik" userId="4419538d-6150-464b-ac11-eb0323261855" providerId="ADAL" clId="{A0CC2E6C-E241-4647-A224-C6EBBD337061}" dt="2023-10-13T12:56:49.092" v="3418" actId="478"/>
          <ac:spMkLst>
            <pc:docMk/>
            <pc:sldMk cId="1024490026" sldId="1561"/>
            <ac:spMk id="22" creationId="{3340657F-C9F4-DE53-D464-7E610E99409B}"/>
          </ac:spMkLst>
        </pc:spChg>
        <pc:spChg chg="mod">
          <ac:chgData name="Buchegger, Dominik" userId="4419538d-6150-464b-ac11-eb0323261855" providerId="ADAL" clId="{A0CC2E6C-E241-4647-A224-C6EBBD337061}" dt="2023-10-13T12:27:56.096" v="1433" actId="20577"/>
          <ac:spMkLst>
            <pc:docMk/>
            <pc:sldMk cId="1024490026" sldId="1561"/>
            <ac:spMk id="25" creationId="{8B40D517-2B27-E3CD-A044-A64A15D05BED}"/>
          </ac:spMkLst>
        </pc:spChg>
        <pc:spChg chg="mod">
          <ac:chgData name="Buchegger, Dominik" userId="4419538d-6150-464b-ac11-eb0323261855" providerId="ADAL" clId="{A0CC2E6C-E241-4647-A224-C6EBBD337061}" dt="2023-10-18T08:11:21.867" v="8481" actId="20577"/>
          <ac:spMkLst>
            <pc:docMk/>
            <pc:sldMk cId="1024490026" sldId="1561"/>
            <ac:spMk id="27" creationId="{F87C0F6D-3113-331F-E9CB-F3C138536B34}"/>
          </ac:spMkLst>
        </pc:spChg>
        <pc:spChg chg="mod">
          <ac:chgData name="Buchegger, Dominik" userId="4419538d-6150-464b-ac11-eb0323261855" providerId="ADAL" clId="{A0CC2E6C-E241-4647-A224-C6EBBD337061}" dt="2023-10-13T12:27:41.300" v="1425" actId="20577"/>
          <ac:spMkLst>
            <pc:docMk/>
            <pc:sldMk cId="1024490026" sldId="1561"/>
            <ac:spMk id="28" creationId="{4DF741A3-F41C-557C-B7CF-90E0E74F1495}"/>
          </ac:spMkLst>
        </pc:spChg>
        <pc:spChg chg="del">
          <ac:chgData name="Buchegger, Dominik" userId="4419538d-6150-464b-ac11-eb0323261855" providerId="ADAL" clId="{A0CC2E6C-E241-4647-A224-C6EBBD337061}" dt="2023-10-13T12:28:06.883" v="1436" actId="478"/>
          <ac:spMkLst>
            <pc:docMk/>
            <pc:sldMk cId="1024490026" sldId="1561"/>
            <ac:spMk id="37" creationId="{69EA6C26-B92C-17EB-B9D0-47FF294E3AAF}"/>
          </ac:spMkLst>
        </pc:spChg>
        <pc:picChg chg="del">
          <ac:chgData name="Buchegger, Dominik" userId="4419538d-6150-464b-ac11-eb0323261855" providerId="ADAL" clId="{A0CC2E6C-E241-4647-A224-C6EBBD337061}" dt="2023-10-13T12:28:02.865" v="1434" actId="478"/>
          <ac:picMkLst>
            <pc:docMk/>
            <pc:sldMk cId="1024490026" sldId="1561"/>
            <ac:picMk id="8" creationId="{00499EE0-4A30-CDA8-14B8-CCB57BA8CB74}"/>
          </ac:picMkLst>
        </pc:picChg>
        <pc:picChg chg="del">
          <ac:chgData name="Buchegger, Dominik" userId="4419538d-6150-464b-ac11-eb0323261855" providerId="ADAL" clId="{A0CC2E6C-E241-4647-A224-C6EBBD337061}" dt="2023-10-13T12:28:04.575" v="1435" actId="478"/>
          <ac:picMkLst>
            <pc:docMk/>
            <pc:sldMk cId="1024490026" sldId="1561"/>
            <ac:picMk id="9" creationId="{8F2A88BA-8FFB-A321-741A-14DDBDF54449}"/>
          </ac:picMkLst>
        </pc:picChg>
        <pc:picChg chg="del">
          <ac:chgData name="Buchegger, Dominik" userId="4419538d-6150-464b-ac11-eb0323261855" providerId="ADAL" clId="{A0CC2E6C-E241-4647-A224-C6EBBD337061}" dt="2023-10-13T12:49:31.295" v="2877" actId="478"/>
          <ac:picMkLst>
            <pc:docMk/>
            <pc:sldMk cId="1024490026" sldId="1561"/>
            <ac:picMk id="10" creationId="{FD43A1AF-55E7-7F7D-8917-5B07BC3BF9C7}"/>
          </ac:picMkLst>
        </pc:picChg>
        <pc:picChg chg="del">
          <ac:chgData name="Buchegger, Dominik" userId="4419538d-6150-464b-ac11-eb0323261855" providerId="ADAL" clId="{A0CC2E6C-E241-4647-A224-C6EBBD337061}" dt="2023-10-13T12:28:08.223" v="1437" actId="478"/>
          <ac:picMkLst>
            <pc:docMk/>
            <pc:sldMk cId="1024490026" sldId="1561"/>
            <ac:picMk id="12" creationId="{CF201B52-9DCF-6D8C-D066-5C2C92C11BF2}"/>
          </ac:picMkLst>
        </pc:picChg>
        <pc:picChg chg="del mod">
          <ac:chgData name="Buchegger, Dominik" userId="4419538d-6150-464b-ac11-eb0323261855" providerId="ADAL" clId="{A0CC2E6C-E241-4647-A224-C6EBBD337061}" dt="2023-10-13T12:49:34.694" v="2880" actId="478"/>
          <ac:picMkLst>
            <pc:docMk/>
            <pc:sldMk cId="1024490026" sldId="1561"/>
            <ac:picMk id="13" creationId="{11B44C0C-5B0B-CC96-A741-127641EF6F93}"/>
          </ac:picMkLst>
        </pc:picChg>
        <pc:picChg chg="del">
          <ac:chgData name="Buchegger, Dominik" userId="4419538d-6150-464b-ac11-eb0323261855" providerId="ADAL" clId="{A0CC2E6C-E241-4647-A224-C6EBBD337061}" dt="2023-10-13T12:49:32.751" v="2878" actId="478"/>
          <ac:picMkLst>
            <pc:docMk/>
            <pc:sldMk cId="1024490026" sldId="1561"/>
            <ac:picMk id="14" creationId="{82F6397F-EDBC-8289-2AE0-6374D38357D9}"/>
          </ac:picMkLst>
        </pc:picChg>
        <pc:picChg chg="add mod modCrop">
          <ac:chgData name="Buchegger, Dominik" userId="4419538d-6150-464b-ac11-eb0323261855" providerId="ADAL" clId="{A0CC2E6C-E241-4647-A224-C6EBBD337061}" dt="2023-10-13T12:52:22.836" v="3002" actId="1076"/>
          <ac:picMkLst>
            <pc:docMk/>
            <pc:sldMk cId="1024490026" sldId="1561"/>
            <ac:picMk id="19" creationId="{77899B1F-BABF-F87D-8435-120C89A55D47}"/>
          </ac:picMkLst>
        </pc:picChg>
        <pc:picChg chg="del">
          <ac:chgData name="Buchegger, Dominik" userId="4419538d-6150-464b-ac11-eb0323261855" providerId="ADAL" clId="{A0CC2E6C-E241-4647-A224-C6EBBD337061}" dt="2023-10-13T12:49:23.527" v="2873" actId="478"/>
          <ac:picMkLst>
            <pc:docMk/>
            <pc:sldMk cId="1024490026" sldId="1561"/>
            <ac:picMk id="31" creationId="{A6AC83D8-CA8A-400F-A0D9-127D600AA199}"/>
          </ac:picMkLst>
        </pc:picChg>
        <pc:picChg chg="del">
          <ac:chgData name="Buchegger, Dominik" userId="4419538d-6150-464b-ac11-eb0323261855" providerId="ADAL" clId="{A0CC2E6C-E241-4647-A224-C6EBBD337061}" dt="2023-10-13T12:49:26.359" v="2874" actId="478"/>
          <ac:picMkLst>
            <pc:docMk/>
            <pc:sldMk cId="1024490026" sldId="1561"/>
            <ac:picMk id="33" creationId="{79EBA821-BA07-20FF-41BF-F2EA4B91FC5E}"/>
          </ac:picMkLst>
        </pc:picChg>
        <pc:picChg chg="del">
          <ac:chgData name="Buchegger, Dominik" userId="4419538d-6150-464b-ac11-eb0323261855" providerId="ADAL" clId="{A0CC2E6C-E241-4647-A224-C6EBBD337061}" dt="2023-10-13T12:49:21.912" v="2872" actId="478"/>
          <ac:picMkLst>
            <pc:docMk/>
            <pc:sldMk cId="1024490026" sldId="1561"/>
            <ac:picMk id="35" creationId="{16BFD73D-B884-AAB9-6373-608F43634AEB}"/>
          </ac:picMkLst>
        </pc:picChg>
        <pc:picChg chg="del">
          <ac:chgData name="Buchegger, Dominik" userId="4419538d-6150-464b-ac11-eb0323261855" providerId="ADAL" clId="{A0CC2E6C-E241-4647-A224-C6EBBD337061}" dt="2023-10-13T12:49:16.243" v="2870" actId="478"/>
          <ac:picMkLst>
            <pc:docMk/>
            <pc:sldMk cId="1024490026" sldId="1561"/>
            <ac:picMk id="39" creationId="{284BBD87-5455-5DB1-1F94-8F7D3CA4F191}"/>
          </ac:picMkLst>
        </pc:picChg>
        <pc:picChg chg="del">
          <ac:chgData name="Buchegger, Dominik" userId="4419538d-6150-464b-ac11-eb0323261855" providerId="ADAL" clId="{A0CC2E6C-E241-4647-A224-C6EBBD337061}" dt="2023-10-13T12:49:47.955" v="2884" actId="478"/>
          <ac:picMkLst>
            <pc:docMk/>
            <pc:sldMk cId="1024490026" sldId="1561"/>
            <ac:picMk id="41" creationId="{FA2C8174-AF24-5E24-B8FF-C243F9CAD1EB}"/>
          </ac:picMkLst>
        </pc:picChg>
        <pc:cxnChg chg="del">
          <ac:chgData name="Buchegger, Dominik" userId="4419538d-6150-464b-ac11-eb0323261855" providerId="ADAL" clId="{A0CC2E6C-E241-4647-A224-C6EBBD337061}" dt="2023-10-13T12:28:10.084" v="1438" actId="478"/>
          <ac:cxnSpMkLst>
            <pc:docMk/>
            <pc:sldMk cId="1024490026" sldId="1561"/>
            <ac:cxnSpMk id="16" creationId="{FC6C000B-DAD0-B1D9-3F0F-7F8633934769}"/>
          </ac:cxnSpMkLst>
        </pc:cxnChg>
      </pc:sldChg>
      <pc:sldChg chg="addSp delSp modSp new del mod modClrScheme chgLayout">
        <pc:chgData name="Buchegger, Dominik" userId="4419538d-6150-464b-ac11-eb0323261855" providerId="ADAL" clId="{A0CC2E6C-E241-4647-A224-C6EBBD337061}" dt="2023-10-13T12:40:55.636" v="2009" actId="47"/>
        <pc:sldMkLst>
          <pc:docMk/>
          <pc:sldMk cId="411142542" sldId="1562"/>
        </pc:sldMkLst>
        <pc:spChg chg="mod ord">
          <ac:chgData name="Buchegger, Dominik" userId="4419538d-6150-464b-ac11-eb0323261855" providerId="ADAL" clId="{A0CC2E6C-E241-4647-A224-C6EBBD337061}" dt="2023-10-13T12:40:07.341" v="1997" actId="26606"/>
          <ac:spMkLst>
            <pc:docMk/>
            <pc:sldMk cId="411142542" sldId="1562"/>
            <ac:spMk id="2" creationId="{E6972154-88CB-4442-E04E-9069AEB89D4A}"/>
          </ac:spMkLst>
        </pc:spChg>
        <pc:spChg chg="del">
          <ac:chgData name="Buchegger, Dominik" userId="4419538d-6150-464b-ac11-eb0323261855" providerId="ADAL" clId="{A0CC2E6C-E241-4647-A224-C6EBBD337061}" dt="2023-10-13T12:39:35.916" v="1992"/>
          <ac:spMkLst>
            <pc:docMk/>
            <pc:sldMk cId="411142542" sldId="1562"/>
            <ac:spMk id="3" creationId="{2A30F89E-F645-4B16-7172-9935BE2DC7F3}"/>
          </ac:spMkLst>
        </pc:spChg>
        <pc:spChg chg="del">
          <ac:chgData name="Buchegger, Dominik" userId="4419538d-6150-464b-ac11-eb0323261855" providerId="ADAL" clId="{A0CC2E6C-E241-4647-A224-C6EBBD337061}" dt="2023-10-13T12:40:07.341" v="1997" actId="26606"/>
          <ac:spMkLst>
            <pc:docMk/>
            <pc:sldMk cId="411142542" sldId="1562"/>
            <ac:spMk id="4" creationId="{2598B46F-8798-46C9-F0C0-F99556933A5D}"/>
          </ac:spMkLst>
        </pc:spChg>
        <pc:spChg chg="mod modVis">
          <ac:chgData name="Buchegger, Dominik" userId="4419538d-6150-464b-ac11-eb0323261855" providerId="ADAL" clId="{A0CC2E6C-E241-4647-A224-C6EBBD337061}" dt="2023-10-13T12:40:07.341" v="1997" actId="26606"/>
          <ac:spMkLst>
            <pc:docMk/>
            <pc:sldMk cId="411142542" sldId="1562"/>
            <ac:spMk id="5" creationId="{A16396F8-E611-6DD3-2095-BE263492B363}"/>
          </ac:spMkLst>
        </pc:spChg>
        <pc:spChg chg="add mod">
          <ac:chgData name="Buchegger, Dominik" userId="4419538d-6150-464b-ac11-eb0323261855" providerId="ADAL" clId="{A0CC2E6C-E241-4647-A224-C6EBBD337061}" dt="2023-10-13T12:40:47.832" v="2007" actId="21"/>
          <ac:spMkLst>
            <pc:docMk/>
            <pc:sldMk cId="411142542" sldId="1562"/>
            <ac:spMk id="9" creationId="{D94F411D-D88D-DB06-C560-85FFA2EA65B0}"/>
          </ac:spMkLst>
        </pc:spChg>
        <pc:spChg chg="add mod">
          <ac:chgData name="Buchegger, Dominik" userId="4419538d-6150-464b-ac11-eb0323261855" providerId="ADAL" clId="{A0CC2E6C-E241-4647-A224-C6EBBD337061}" dt="2023-10-13T12:40:07.341" v="1997" actId="26606"/>
          <ac:spMkLst>
            <pc:docMk/>
            <pc:sldMk cId="411142542" sldId="1562"/>
            <ac:spMk id="12" creationId="{515B011C-148F-5B8D-CCDA-588C38C7F26E}"/>
          </ac:spMkLst>
        </pc:spChg>
        <pc:picChg chg="add del mod modCrop">
          <ac:chgData name="Buchegger, Dominik" userId="4419538d-6150-464b-ac11-eb0323261855" providerId="ADAL" clId="{A0CC2E6C-E241-4647-A224-C6EBBD337061}" dt="2023-10-13T12:40:47.832" v="2007" actId="21"/>
          <ac:picMkLst>
            <pc:docMk/>
            <pc:sldMk cId="411142542" sldId="1562"/>
            <ac:picMk id="7" creationId="{FCDABCAC-E222-EF30-6C85-8C4A441582C5}"/>
          </ac:picMkLst>
        </pc:picChg>
      </pc:sldChg>
      <pc:sldChg chg="addSp delSp modSp new mod">
        <pc:chgData name="Buchegger, Dominik" userId="4419538d-6150-464b-ac11-eb0323261855" providerId="ADAL" clId="{A0CC2E6C-E241-4647-A224-C6EBBD337061}" dt="2023-10-18T08:11:17.750" v="8479" actId="20577"/>
        <pc:sldMkLst>
          <pc:docMk/>
          <pc:sldMk cId="2111202756" sldId="1563"/>
        </pc:sldMkLst>
        <pc:spChg chg="mod">
          <ac:chgData name="Buchegger, Dominik" userId="4419538d-6150-464b-ac11-eb0323261855" providerId="ADAL" clId="{A0CC2E6C-E241-4647-A224-C6EBBD337061}" dt="2023-10-13T12:41:05.657" v="2032" actId="20577"/>
          <ac:spMkLst>
            <pc:docMk/>
            <pc:sldMk cId="2111202756" sldId="1563"/>
            <ac:spMk id="2" creationId="{DDCF0080-215A-C544-16D8-0A6E71C828E1}"/>
          </ac:spMkLst>
        </pc:spChg>
        <pc:spChg chg="mod">
          <ac:chgData name="Buchegger, Dominik" userId="4419538d-6150-464b-ac11-eb0323261855" providerId="ADAL" clId="{A0CC2E6C-E241-4647-A224-C6EBBD337061}" dt="2023-10-15T14:58:00.726" v="5325" actId="207"/>
          <ac:spMkLst>
            <pc:docMk/>
            <pc:sldMk cId="2111202756" sldId="1563"/>
            <ac:spMk id="3" creationId="{0D09C76D-E054-0EF4-EB96-454296425ECC}"/>
          </ac:spMkLst>
        </pc:spChg>
        <pc:spChg chg="del">
          <ac:chgData name="Buchegger, Dominik" userId="4419538d-6150-464b-ac11-eb0323261855" providerId="ADAL" clId="{A0CC2E6C-E241-4647-A224-C6EBBD337061}" dt="2023-10-13T12:40:59.707" v="2011" actId="478"/>
          <ac:spMkLst>
            <pc:docMk/>
            <pc:sldMk cId="2111202756" sldId="1563"/>
            <ac:spMk id="4" creationId="{A8BBD6C3-7DEA-FC76-9FAD-A45F2B2C3022}"/>
          </ac:spMkLst>
        </pc:spChg>
        <pc:spChg chg="mod">
          <ac:chgData name="Buchegger, Dominik" userId="4419538d-6150-464b-ac11-eb0323261855" providerId="ADAL" clId="{A0CC2E6C-E241-4647-A224-C6EBBD337061}" dt="2023-10-18T08:11:17.750" v="8479" actId="20577"/>
          <ac:spMkLst>
            <pc:docMk/>
            <pc:sldMk cId="2111202756" sldId="1563"/>
            <ac:spMk id="6" creationId="{FBAE6B28-02B3-371B-7F86-576AAB653BB6}"/>
          </ac:spMkLst>
        </pc:spChg>
        <pc:picChg chg="add mod">
          <ac:chgData name="Buchegger, Dominik" userId="4419538d-6150-464b-ac11-eb0323261855" providerId="ADAL" clId="{A0CC2E6C-E241-4647-A224-C6EBBD337061}" dt="2023-10-13T12:40:56.743" v="2010"/>
          <ac:picMkLst>
            <pc:docMk/>
            <pc:sldMk cId="2111202756" sldId="1563"/>
            <ac:picMk id="7" creationId="{7C98EC7C-0911-65AF-5ABF-D89EA90C1A32}"/>
          </ac:picMkLst>
        </pc:picChg>
      </pc:sldChg>
      <pc:sldChg chg="addSp modSp add del mod">
        <pc:chgData name="Buchegger, Dominik" userId="4419538d-6150-464b-ac11-eb0323261855" providerId="ADAL" clId="{A0CC2E6C-E241-4647-A224-C6EBBD337061}" dt="2023-10-13T13:26:48.499" v="5047" actId="47"/>
        <pc:sldMkLst>
          <pc:docMk/>
          <pc:sldMk cId="2349754457" sldId="3262"/>
        </pc:sldMkLst>
        <pc:spChg chg="mod">
          <ac:chgData name="Buchegger, Dominik" userId="4419538d-6150-464b-ac11-eb0323261855" providerId="ADAL" clId="{A0CC2E6C-E241-4647-A224-C6EBBD337061}" dt="2023-10-13T13:07:30.775" v="3891" actId="21"/>
          <ac:spMkLst>
            <pc:docMk/>
            <pc:sldMk cId="2349754457" sldId="3262"/>
            <ac:spMk id="3" creationId="{77B17A7F-5B78-CB14-5BFA-76DB38D0BDB5}"/>
          </ac:spMkLst>
        </pc:spChg>
        <pc:spChg chg="add mod">
          <ac:chgData name="Buchegger, Dominik" userId="4419538d-6150-464b-ac11-eb0323261855" providerId="ADAL" clId="{A0CC2E6C-E241-4647-A224-C6EBBD337061}" dt="2023-10-13T13:26:08.588" v="5046" actId="20577"/>
          <ac:spMkLst>
            <pc:docMk/>
            <pc:sldMk cId="2349754457" sldId="3262"/>
            <ac:spMk id="7" creationId="{0D88659A-2B7D-99BD-1DDF-0C8CD99ACD40}"/>
          </ac:spMkLst>
        </pc:spChg>
      </pc:sldChg>
      <pc:sldChg chg="modSp add del mod">
        <pc:chgData name="Buchegger, Dominik" userId="4419538d-6150-464b-ac11-eb0323261855" providerId="ADAL" clId="{A0CC2E6C-E241-4647-A224-C6EBBD337061}" dt="2023-10-13T13:34:08.329" v="5287" actId="47"/>
        <pc:sldMkLst>
          <pc:docMk/>
          <pc:sldMk cId="2655767366" sldId="3263"/>
        </pc:sldMkLst>
        <pc:spChg chg="mod">
          <ac:chgData name="Buchegger, Dominik" userId="4419538d-6150-464b-ac11-eb0323261855" providerId="ADAL" clId="{A0CC2E6C-E241-4647-A224-C6EBBD337061}" dt="2023-10-13T13:33:05.572" v="5245" actId="20577"/>
          <ac:spMkLst>
            <pc:docMk/>
            <pc:sldMk cId="2655767366" sldId="3263"/>
            <ac:spMk id="3" creationId="{77B17A7F-5B78-CB14-5BFA-76DB38D0BDB5}"/>
          </ac:spMkLst>
        </pc:spChg>
      </pc:sldChg>
      <pc:sldChg chg="addSp delSp modSp new mod ord modClrScheme chgLayout">
        <pc:chgData name="Buchegger, Dominik" userId="4419538d-6150-464b-ac11-eb0323261855" providerId="ADAL" clId="{A0CC2E6C-E241-4647-A224-C6EBBD337061}" dt="2023-10-18T07:51:12.503" v="7843" actId="20577"/>
        <pc:sldMkLst>
          <pc:docMk/>
          <pc:sldMk cId="521713259" sldId="3264"/>
        </pc:sldMkLst>
        <pc:spChg chg="mod ord">
          <ac:chgData name="Buchegger, Dominik" userId="4419538d-6150-464b-ac11-eb0323261855" providerId="ADAL" clId="{A0CC2E6C-E241-4647-A224-C6EBBD337061}" dt="2023-10-18T07:51:02.612" v="7829" actId="700"/>
          <ac:spMkLst>
            <pc:docMk/>
            <pc:sldMk cId="521713259" sldId="3264"/>
            <ac:spMk id="2" creationId="{105C78DE-38D3-1E49-EE31-79EFB857CF0D}"/>
          </ac:spMkLst>
        </pc:spChg>
        <pc:spChg chg="del">
          <ac:chgData name="Buchegger, Dominik" userId="4419538d-6150-464b-ac11-eb0323261855" providerId="ADAL" clId="{A0CC2E6C-E241-4647-A224-C6EBBD337061}" dt="2023-10-13T13:23:41.472" v="4960" actId="478"/>
          <ac:spMkLst>
            <pc:docMk/>
            <pc:sldMk cId="521713259" sldId="3264"/>
            <ac:spMk id="3" creationId="{A0F3FEE0-CFE6-0451-10D8-FA882FC59A69}"/>
          </ac:spMkLst>
        </pc:spChg>
        <pc:spChg chg="mod ord">
          <ac:chgData name="Buchegger, Dominik" userId="4419538d-6150-464b-ac11-eb0323261855" providerId="ADAL" clId="{A0CC2E6C-E241-4647-A224-C6EBBD337061}" dt="2023-10-18T07:51:02.612" v="7829" actId="700"/>
          <ac:spMkLst>
            <pc:docMk/>
            <pc:sldMk cId="521713259" sldId="3264"/>
            <ac:spMk id="4" creationId="{9FE37890-6DC0-5469-F2D6-056FAEFC12A3}"/>
          </ac:spMkLst>
        </pc:spChg>
        <pc:spChg chg="add mod">
          <ac:chgData name="Buchegger, Dominik" userId="4419538d-6150-464b-ac11-eb0323261855" providerId="ADAL" clId="{A0CC2E6C-E241-4647-A224-C6EBBD337061}" dt="2023-10-18T07:19:50.962" v="7069" actId="1076"/>
          <ac:spMkLst>
            <pc:docMk/>
            <pc:sldMk cId="521713259" sldId="3264"/>
            <ac:spMk id="5" creationId="{0764D3A4-3B3B-BFDF-CF79-1BFF7A8826A3}"/>
          </ac:spMkLst>
        </pc:spChg>
        <pc:spChg chg="add del">
          <ac:chgData name="Buchegger, Dominik" userId="4419538d-6150-464b-ac11-eb0323261855" providerId="ADAL" clId="{A0CC2E6C-E241-4647-A224-C6EBBD337061}" dt="2023-10-18T07:22:12.945" v="7135" actId="22"/>
          <ac:spMkLst>
            <pc:docMk/>
            <pc:sldMk cId="521713259" sldId="3264"/>
            <ac:spMk id="6" creationId="{78EBE92B-D531-4291-9091-E743DC84075A}"/>
          </ac:spMkLst>
        </pc:spChg>
        <pc:spChg chg="add mod">
          <ac:chgData name="Buchegger, Dominik" userId="4419538d-6150-464b-ac11-eb0323261855" providerId="ADAL" clId="{A0CC2E6C-E241-4647-A224-C6EBBD337061}" dt="2023-10-18T07:21:50.101" v="7132" actId="113"/>
          <ac:spMkLst>
            <pc:docMk/>
            <pc:sldMk cId="521713259" sldId="3264"/>
            <ac:spMk id="7" creationId="{CBBBA228-5706-DC04-E067-BD5B530797DD}"/>
          </ac:spMkLst>
        </pc:spChg>
        <pc:spChg chg="add mod">
          <ac:chgData name="Buchegger, Dominik" userId="4419538d-6150-464b-ac11-eb0323261855" providerId="ADAL" clId="{A0CC2E6C-E241-4647-A224-C6EBBD337061}" dt="2023-10-18T07:35:34.741" v="7402" actId="1076"/>
          <ac:spMkLst>
            <pc:docMk/>
            <pc:sldMk cId="521713259" sldId="3264"/>
            <ac:spMk id="8" creationId="{C5D4617F-57DD-4A53-5E91-D1DB5D552B18}"/>
          </ac:spMkLst>
        </pc:spChg>
        <pc:spChg chg="add mod">
          <ac:chgData name="Buchegger, Dominik" userId="4419538d-6150-464b-ac11-eb0323261855" providerId="ADAL" clId="{A0CC2E6C-E241-4647-A224-C6EBBD337061}" dt="2023-10-18T07:48:00.161" v="7809" actId="114"/>
          <ac:spMkLst>
            <pc:docMk/>
            <pc:sldMk cId="521713259" sldId="3264"/>
            <ac:spMk id="9" creationId="{D5EFCEA1-6962-3DB4-4603-0AFCFEF1577A}"/>
          </ac:spMkLst>
        </pc:spChg>
        <pc:spChg chg="add mod">
          <ac:chgData name="Buchegger, Dominik" userId="4419538d-6150-464b-ac11-eb0323261855" providerId="ADAL" clId="{A0CC2E6C-E241-4647-A224-C6EBBD337061}" dt="2023-10-18T07:20:11.633" v="7073" actId="1076"/>
          <ac:spMkLst>
            <pc:docMk/>
            <pc:sldMk cId="521713259" sldId="3264"/>
            <ac:spMk id="10" creationId="{222C2706-B75D-128E-A376-CD9401B00E06}"/>
          </ac:spMkLst>
        </pc:spChg>
        <pc:spChg chg="add del mod">
          <ac:chgData name="Buchegger, Dominik" userId="4419538d-6150-464b-ac11-eb0323261855" providerId="ADAL" clId="{A0CC2E6C-E241-4647-A224-C6EBBD337061}" dt="2023-10-18T07:33:11.029" v="7321" actId="478"/>
          <ac:spMkLst>
            <pc:docMk/>
            <pc:sldMk cId="521713259" sldId="3264"/>
            <ac:spMk id="11" creationId="{1868E0C8-0979-4442-C573-3DBFC04A2497}"/>
          </ac:spMkLst>
        </pc:spChg>
        <pc:spChg chg="add mod">
          <ac:chgData name="Buchegger, Dominik" userId="4419538d-6150-464b-ac11-eb0323261855" providerId="ADAL" clId="{A0CC2E6C-E241-4647-A224-C6EBBD337061}" dt="2023-10-18T07:19:46.737" v="7068" actId="1076"/>
          <ac:spMkLst>
            <pc:docMk/>
            <pc:sldMk cId="521713259" sldId="3264"/>
            <ac:spMk id="12" creationId="{9841FE26-5E36-8FAB-E8A6-E2627F7E9EE0}"/>
          </ac:spMkLst>
        </pc:spChg>
        <pc:spChg chg="add mod">
          <ac:chgData name="Buchegger, Dominik" userId="4419538d-6150-464b-ac11-eb0323261855" providerId="ADAL" clId="{A0CC2E6C-E241-4647-A224-C6EBBD337061}" dt="2023-10-13T13:34:34.633" v="5294" actId="1076"/>
          <ac:spMkLst>
            <pc:docMk/>
            <pc:sldMk cId="521713259" sldId="3264"/>
            <ac:spMk id="13" creationId="{FA93D1EF-63EB-5037-D819-E59D3D83ACDE}"/>
          </ac:spMkLst>
        </pc:spChg>
        <pc:spChg chg="add mod">
          <ac:chgData name="Buchegger, Dominik" userId="4419538d-6150-464b-ac11-eb0323261855" providerId="ADAL" clId="{A0CC2E6C-E241-4647-A224-C6EBBD337061}" dt="2023-10-18T07:20:18.647" v="7075" actId="120"/>
          <ac:spMkLst>
            <pc:docMk/>
            <pc:sldMk cId="521713259" sldId="3264"/>
            <ac:spMk id="14" creationId="{452B5832-D3DC-9531-581A-34B835679B56}"/>
          </ac:spMkLst>
        </pc:spChg>
        <pc:spChg chg="add mod">
          <ac:chgData name="Buchegger, Dominik" userId="4419538d-6150-464b-ac11-eb0323261855" providerId="ADAL" clId="{A0CC2E6C-E241-4647-A224-C6EBBD337061}" dt="2023-10-18T07:20:28.705" v="7076" actId="1076"/>
          <ac:spMkLst>
            <pc:docMk/>
            <pc:sldMk cId="521713259" sldId="3264"/>
            <ac:spMk id="15" creationId="{F9365AB2-4B4C-7F06-B04C-CC1F90F19A21}"/>
          </ac:spMkLst>
        </pc:spChg>
        <pc:spChg chg="add del mod">
          <ac:chgData name="Buchegger, Dominik" userId="4419538d-6150-464b-ac11-eb0323261855" providerId="ADAL" clId="{A0CC2E6C-E241-4647-A224-C6EBBD337061}" dt="2023-10-18T07:32:46.986" v="7312" actId="478"/>
          <ac:spMkLst>
            <pc:docMk/>
            <pc:sldMk cId="521713259" sldId="3264"/>
            <ac:spMk id="16" creationId="{48FF96AC-CE4A-9E05-F625-2412FD0AFFD8}"/>
          </ac:spMkLst>
        </pc:spChg>
        <pc:spChg chg="add mod">
          <ac:chgData name="Buchegger, Dominik" userId="4419538d-6150-464b-ac11-eb0323261855" providerId="ADAL" clId="{A0CC2E6C-E241-4647-A224-C6EBBD337061}" dt="2023-10-18T07:43:57.847" v="7587" actId="14100"/>
          <ac:spMkLst>
            <pc:docMk/>
            <pc:sldMk cId="521713259" sldId="3264"/>
            <ac:spMk id="17" creationId="{8BF9B9DA-B3A8-F3DB-A689-BDF2A1CD6C57}"/>
          </ac:spMkLst>
        </pc:spChg>
        <pc:spChg chg="add mod">
          <ac:chgData name="Buchegger, Dominik" userId="4419538d-6150-464b-ac11-eb0323261855" providerId="ADAL" clId="{A0CC2E6C-E241-4647-A224-C6EBBD337061}" dt="2023-10-18T07:35:34.741" v="7402" actId="1076"/>
          <ac:spMkLst>
            <pc:docMk/>
            <pc:sldMk cId="521713259" sldId="3264"/>
            <ac:spMk id="18" creationId="{54893616-FB52-4325-6B36-4E5791FA79C3}"/>
          </ac:spMkLst>
        </pc:spChg>
        <pc:spChg chg="add mod">
          <ac:chgData name="Buchegger, Dominik" userId="4419538d-6150-464b-ac11-eb0323261855" providerId="ADAL" clId="{A0CC2E6C-E241-4647-A224-C6EBBD337061}" dt="2023-10-18T07:35:34.741" v="7402" actId="1076"/>
          <ac:spMkLst>
            <pc:docMk/>
            <pc:sldMk cId="521713259" sldId="3264"/>
            <ac:spMk id="19" creationId="{80213B1C-093D-3181-4230-ADB16989C56F}"/>
          </ac:spMkLst>
        </pc:spChg>
        <pc:spChg chg="add mod">
          <ac:chgData name="Buchegger, Dominik" userId="4419538d-6150-464b-ac11-eb0323261855" providerId="ADAL" clId="{A0CC2E6C-E241-4647-A224-C6EBBD337061}" dt="2023-10-18T07:35:34.741" v="7402" actId="1076"/>
          <ac:spMkLst>
            <pc:docMk/>
            <pc:sldMk cId="521713259" sldId="3264"/>
            <ac:spMk id="20" creationId="{0776BE18-FFCB-99C9-D2A3-88E46BBF220C}"/>
          </ac:spMkLst>
        </pc:spChg>
        <pc:spChg chg="add mod">
          <ac:chgData name="Buchegger, Dominik" userId="4419538d-6150-464b-ac11-eb0323261855" providerId="ADAL" clId="{A0CC2E6C-E241-4647-A224-C6EBBD337061}" dt="2023-10-18T07:35:34.741" v="7402" actId="1076"/>
          <ac:spMkLst>
            <pc:docMk/>
            <pc:sldMk cId="521713259" sldId="3264"/>
            <ac:spMk id="21" creationId="{3A42720B-087A-9BCC-8495-A5BD1D4440E9}"/>
          </ac:spMkLst>
        </pc:spChg>
        <pc:spChg chg="add mod">
          <ac:chgData name="Buchegger, Dominik" userId="4419538d-6150-464b-ac11-eb0323261855" providerId="ADAL" clId="{A0CC2E6C-E241-4647-A224-C6EBBD337061}" dt="2023-10-18T07:35:34.741" v="7402" actId="1076"/>
          <ac:spMkLst>
            <pc:docMk/>
            <pc:sldMk cId="521713259" sldId="3264"/>
            <ac:spMk id="22" creationId="{3DD3D020-6018-6F45-4F1D-31870E996121}"/>
          </ac:spMkLst>
        </pc:spChg>
        <pc:spChg chg="add mod">
          <ac:chgData name="Buchegger, Dominik" userId="4419538d-6150-464b-ac11-eb0323261855" providerId="ADAL" clId="{A0CC2E6C-E241-4647-A224-C6EBBD337061}" dt="2023-10-18T07:37:17.008" v="7463" actId="14100"/>
          <ac:spMkLst>
            <pc:docMk/>
            <pc:sldMk cId="521713259" sldId="3264"/>
            <ac:spMk id="23" creationId="{3CB90611-4E69-5E8A-C27F-526C2488BF9C}"/>
          </ac:spMkLst>
        </pc:spChg>
        <pc:spChg chg="add mod">
          <ac:chgData name="Buchegger, Dominik" userId="4419538d-6150-464b-ac11-eb0323261855" providerId="ADAL" clId="{A0CC2E6C-E241-4647-A224-C6EBBD337061}" dt="2023-10-18T07:36:41.552" v="7461" actId="1076"/>
          <ac:spMkLst>
            <pc:docMk/>
            <pc:sldMk cId="521713259" sldId="3264"/>
            <ac:spMk id="24" creationId="{6EB668AF-5EA3-2DA5-F745-BDEE3A371490}"/>
          </ac:spMkLst>
        </pc:spChg>
        <pc:spChg chg="add mod">
          <ac:chgData name="Buchegger, Dominik" userId="4419538d-6150-464b-ac11-eb0323261855" providerId="ADAL" clId="{A0CC2E6C-E241-4647-A224-C6EBBD337061}" dt="2023-10-18T07:39:21.979" v="7497" actId="14100"/>
          <ac:spMkLst>
            <pc:docMk/>
            <pc:sldMk cId="521713259" sldId="3264"/>
            <ac:spMk id="39" creationId="{3EA62F1D-4208-1B7B-7EAF-C4CC831C39EA}"/>
          </ac:spMkLst>
        </pc:spChg>
        <pc:spChg chg="add mod">
          <ac:chgData name="Buchegger, Dominik" userId="4419538d-6150-464b-ac11-eb0323261855" providerId="ADAL" clId="{A0CC2E6C-E241-4647-A224-C6EBBD337061}" dt="2023-10-18T07:39:55.884" v="7519" actId="1076"/>
          <ac:spMkLst>
            <pc:docMk/>
            <pc:sldMk cId="521713259" sldId="3264"/>
            <ac:spMk id="40" creationId="{1B5AE273-7086-AC6D-E170-BF97F7FB2358}"/>
          </ac:spMkLst>
        </pc:spChg>
        <pc:spChg chg="add mod">
          <ac:chgData name="Buchegger, Dominik" userId="4419538d-6150-464b-ac11-eb0323261855" providerId="ADAL" clId="{A0CC2E6C-E241-4647-A224-C6EBBD337061}" dt="2023-10-18T07:40:21.342" v="7537" actId="14100"/>
          <ac:spMkLst>
            <pc:docMk/>
            <pc:sldMk cId="521713259" sldId="3264"/>
            <ac:spMk id="41" creationId="{E072D790-61DB-1DE3-46BB-3CB79DD29B19}"/>
          </ac:spMkLst>
        </pc:spChg>
        <pc:spChg chg="add del mod">
          <ac:chgData name="Buchegger, Dominik" userId="4419538d-6150-464b-ac11-eb0323261855" providerId="ADAL" clId="{A0CC2E6C-E241-4647-A224-C6EBBD337061}" dt="2023-10-18T07:48:07.251" v="7810" actId="478"/>
          <ac:spMkLst>
            <pc:docMk/>
            <pc:sldMk cId="521713259" sldId="3264"/>
            <ac:spMk id="43" creationId="{D115D7CD-E8E3-63FB-EA95-1B31B308E782}"/>
          </ac:spMkLst>
        </pc:spChg>
        <pc:spChg chg="add mod">
          <ac:chgData name="Buchegger, Dominik" userId="4419538d-6150-464b-ac11-eb0323261855" providerId="ADAL" clId="{A0CC2E6C-E241-4647-A224-C6EBBD337061}" dt="2023-10-18T07:45:37.502" v="7637" actId="1076"/>
          <ac:spMkLst>
            <pc:docMk/>
            <pc:sldMk cId="521713259" sldId="3264"/>
            <ac:spMk id="44" creationId="{F433044D-E180-81E1-BB5F-68E0F20EB932}"/>
          </ac:spMkLst>
        </pc:spChg>
        <pc:spChg chg="add del mod ord">
          <ac:chgData name="Buchegger, Dominik" userId="4419538d-6150-464b-ac11-eb0323261855" providerId="ADAL" clId="{A0CC2E6C-E241-4647-A224-C6EBBD337061}" dt="2023-10-18T07:50:57.263" v="7828" actId="700"/>
          <ac:spMkLst>
            <pc:docMk/>
            <pc:sldMk cId="521713259" sldId="3264"/>
            <ac:spMk id="45" creationId="{08FCA5E7-B138-C568-C6E4-F7C66BAAF4B4}"/>
          </ac:spMkLst>
        </pc:spChg>
        <pc:spChg chg="add del mod ord">
          <ac:chgData name="Buchegger, Dominik" userId="4419538d-6150-464b-ac11-eb0323261855" providerId="ADAL" clId="{A0CC2E6C-E241-4647-A224-C6EBBD337061}" dt="2023-10-18T07:51:06.478" v="7830" actId="478"/>
          <ac:spMkLst>
            <pc:docMk/>
            <pc:sldMk cId="521713259" sldId="3264"/>
            <ac:spMk id="46" creationId="{7C842587-2F64-2148-5BE2-495ED4C8CED4}"/>
          </ac:spMkLst>
        </pc:spChg>
        <pc:spChg chg="add mod ord">
          <ac:chgData name="Buchegger, Dominik" userId="4419538d-6150-464b-ac11-eb0323261855" providerId="ADAL" clId="{A0CC2E6C-E241-4647-A224-C6EBBD337061}" dt="2023-10-18T07:51:12.503" v="7843" actId="20577"/>
          <ac:spMkLst>
            <pc:docMk/>
            <pc:sldMk cId="521713259" sldId="3264"/>
            <ac:spMk id="47" creationId="{75D24811-97C6-84FD-D61F-6B32C1867EE1}"/>
          </ac:spMkLst>
        </pc:spChg>
        <pc:cxnChg chg="add del mod">
          <ac:chgData name="Buchegger, Dominik" userId="4419538d-6150-464b-ac11-eb0323261855" providerId="ADAL" clId="{A0CC2E6C-E241-4647-A224-C6EBBD337061}" dt="2023-10-18T07:37:21.742" v="7465" actId="478"/>
          <ac:cxnSpMkLst>
            <pc:docMk/>
            <pc:sldMk cId="521713259" sldId="3264"/>
            <ac:cxnSpMk id="26" creationId="{0D190587-E220-E05F-1FFF-1255E43A3906}"/>
          </ac:cxnSpMkLst>
        </pc:cxnChg>
        <pc:cxnChg chg="add del mod">
          <ac:chgData name="Buchegger, Dominik" userId="4419538d-6150-464b-ac11-eb0323261855" providerId="ADAL" clId="{A0CC2E6C-E241-4647-A224-C6EBBD337061}" dt="2023-10-18T07:37:37.916" v="7467" actId="478"/>
          <ac:cxnSpMkLst>
            <pc:docMk/>
            <pc:sldMk cId="521713259" sldId="3264"/>
            <ac:cxnSpMk id="30" creationId="{FBB90F05-E568-9C96-C653-523F0768B0A9}"/>
          </ac:cxnSpMkLst>
        </pc:cxnChg>
        <pc:cxnChg chg="add del mod">
          <ac:chgData name="Buchegger, Dominik" userId="4419538d-6150-464b-ac11-eb0323261855" providerId="ADAL" clId="{A0CC2E6C-E241-4647-A224-C6EBBD337061}" dt="2023-10-18T07:37:55.220" v="7471" actId="478"/>
          <ac:cxnSpMkLst>
            <pc:docMk/>
            <pc:sldMk cId="521713259" sldId="3264"/>
            <ac:cxnSpMk id="32" creationId="{C727A381-4298-E8C8-308D-FFF136634893}"/>
          </ac:cxnSpMkLst>
        </pc:cxnChg>
        <pc:cxnChg chg="add del mod">
          <ac:chgData name="Buchegger, Dominik" userId="4419538d-6150-464b-ac11-eb0323261855" providerId="ADAL" clId="{A0CC2E6C-E241-4647-A224-C6EBBD337061}" dt="2023-10-18T07:38:11.214" v="7475" actId="478"/>
          <ac:cxnSpMkLst>
            <pc:docMk/>
            <pc:sldMk cId="521713259" sldId="3264"/>
            <ac:cxnSpMk id="36" creationId="{5972D47A-0AC6-8604-AC17-8E7952BA2549}"/>
          </ac:cxnSpMkLst>
        </pc:cxnChg>
      </pc:sldChg>
      <pc:sldChg chg="addSp modSp add mod">
        <pc:chgData name="Buchegger, Dominik" userId="4419538d-6150-464b-ac11-eb0323261855" providerId="ADAL" clId="{A0CC2E6C-E241-4647-A224-C6EBBD337061}" dt="2023-10-17T10:58:15.366" v="7053" actId="1076"/>
        <pc:sldMkLst>
          <pc:docMk/>
          <pc:sldMk cId="89875962" sldId="3265"/>
        </pc:sldMkLst>
        <pc:spChg chg="mod">
          <ac:chgData name="Buchegger, Dominik" userId="4419538d-6150-464b-ac11-eb0323261855" providerId="ADAL" clId="{A0CC2E6C-E241-4647-A224-C6EBBD337061}" dt="2023-10-17T10:57:21.586" v="7036" actId="113"/>
          <ac:spMkLst>
            <pc:docMk/>
            <pc:sldMk cId="89875962" sldId="3265"/>
            <ac:spMk id="8" creationId="{E0EB712D-88FF-652F-AD07-EBE500FC8B72}"/>
          </ac:spMkLst>
        </pc:spChg>
        <pc:spChg chg="mod">
          <ac:chgData name="Buchegger, Dominik" userId="4419538d-6150-464b-ac11-eb0323261855" providerId="ADAL" clId="{A0CC2E6C-E241-4647-A224-C6EBBD337061}" dt="2023-10-17T10:38:55.740" v="5861" actId="20577"/>
          <ac:spMkLst>
            <pc:docMk/>
            <pc:sldMk cId="89875962" sldId="3265"/>
            <ac:spMk id="9" creationId="{59B53215-B6F1-5EC0-B1AC-A12EE89612BE}"/>
          </ac:spMkLst>
        </pc:spChg>
        <pc:picChg chg="add mod">
          <ac:chgData name="Buchegger, Dominik" userId="4419538d-6150-464b-ac11-eb0323261855" providerId="ADAL" clId="{A0CC2E6C-E241-4647-A224-C6EBBD337061}" dt="2023-10-17T10:58:15.366" v="7053" actId="1076"/>
          <ac:picMkLst>
            <pc:docMk/>
            <pc:sldMk cId="89875962" sldId="3265"/>
            <ac:picMk id="6" creationId="{B221F6C0-F638-FE34-D923-41A27EAAE489}"/>
          </ac:picMkLst>
        </pc:picChg>
        <pc:picChg chg="add mod">
          <ac:chgData name="Buchegger, Dominik" userId="4419538d-6150-464b-ac11-eb0323261855" providerId="ADAL" clId="{A0CC2E6C-E241-4647-A224-C6EBBD337061}" dt="2023-10-17T10:58:05.775" v="7050" actId="1076"/>
          <ac:picMkLst>
            <pc:docMk/>
            <pc:sldMk cId="89875962" sldId="3265"/>
            <ac:picMk id="10" creationId="{469EC42E-8551-C5F5-A10A-099DE6B21BCC}"/>
          </ac:picMkLst>
        </pc:picChg>
        <pc:picChg chg="add mod">
          <ac:chgData name="Buchegger, Dominik" userId="4419538d-6150-464b-ac11-eb0323261855" providerId="ADAL" clId="{A0CC2E6C-E241-4647-A224-C6EBBD337061}" dt="2023-10-17T10:58:02.524" v="7049" actId="1076"/>
          <ac:picMkLst>
            <pc:docMk/>
            <pc:sldMk cId="89875962" sldId="3265"/>
            <ac:picMk id="12" creationId="{97ED0372-2ADE-19F1-72AC-8CAE66FE9C2A}"/>
          </ac:picMkLst>
        </pc:picChg>
      </pc:sldChg>
      <pc:sldChg chg="addSp delSp modSp add mod">
        <pc:chgData name="Buchegger, Dominik" userId="4419538d-6150-464b-ac11-eb0323261855" providerId="ADAL" clId="{A0CC2E6C-E241-4647-A224-C6EBBD337061}" dt="2023-10-17T10:57:09.702" v="7030" actId="1076"/>
        <pc:sldMkLst>
          <pc:docMk/>
          <pc:sldMk cId="2374743628" sldId="3266"/>
        </pc:sldMkLst>
        <pc:spChg chg="mod">
          <ac:chgData name="Buchegger, Dominik" userId="4419538d-6150-464b-ac11-eb0323261855" providerId="ADAL" clId="{A0CC2E6C-E241-4647-A224-C6EBBD337061}" dt="2023-10-17T10:56:58.766" v="7026" actId="20577"/>
          <ac:spMkLst>
            <pc:docMk/>
            <pc:sldMk cId="2374743628" sldId="3266"/>
            <ac:spMk id="8" creationId="{E0EB712D-88FF-652F-AD07-EBE500FC8B72}"/>
          </ac:spMkLst>
        </pc:spChg>
        <pc:spChg chg="mod">
          <ac:chgData name="Buchegger, Dominik" userId="4419538d-6150-464b-ac11-eb0323261855" providerId="ADAL" clId="{A0CC2E6C-E241-4647-A224-C6EBBD337061}" dt="2023-10-17T10:46:46.112" v="5984" actId="20577"/>
          <ac:spMkLst>
            <pc:docMk/>
            <pc:sldMk cId="2374743628" sldId="3266"/>
            <ac:spMk id="9" creationId="{59B53215-B6F1-5EC0-B1AC-A12EE89612BE}"/>
          </ac:spMkLst>
        </pc:spChg>
        <pc:picChg chg="del">
          <ac:chgData name="Buchegger, Dominik" userId="4419538d-6150-464b-ac11-eb0323261855" providerId="ADAL" clId="{A0CC2E6C-E241-4647-A224-C6EBBD337061}" dt="2023-10-17T10:46:07.542" v="5881" actId="478"/>
          <ac:picMkLst>
            <pc:docMk/>
            <pc:sldMk cId="2374743628" sldId="3266"/>
            <ac:picMk id="6" creationId="{B221F6C0-F638-FE34-D923-41A27EAAE489}"/>
          </ac:picMkLst>
        </pc:picChg>
        <pc:picChg chg="add mod">
          <ac:chgData name="Buchegger, Dominik" userId="4419538d-6150-464b-ac11-eb0323261855" providerId="ADAL" clId="{A0CC2E6C-E241-4647-A224-C6EBBD337061}" dt="2023-10-17T10:57:09.702" v="7030" actId="1076"/>
          <ac:picMkLst>
            <pc:docMk/>
            <pc:sldMk cId="2374743628" sldId="3266"/>
            <ac:picMk id="7" creationId="{F86D6191-0350-F439-22AE-880487F67340}"/>
          </ac:picMkLst>
        </pc:picChg>
        <pc:picChg chg="del">
          <ac:chgData name="Buchegger, Dominik" userId="4419538d-6150-464b-ac11-eb0323261855" providerId="ADAL" clId="{A0CC2E6C-E241-4647-A224-C6EBBD337061}" dt="2023-10-17T10:46:06.340" v="5880" actId="478"/>
          <ac:picMkLst>
            <pc:docMk/>
            <pc:sldMk cId="2374743628" sldId="3266"/>
            <ac:picMk id="10" creationId="{469EC42E-8551-C5F5-A10A-099DE6B21BCC}"/>
          </ac:picMkLst>
        </pc:picChg>
        <pc:picChg chg="del">
          <ac:chgData name="Buchegger, Dominik" userId="4419538d-6150-464b-ac11-eb0323261855" providerId="ADAL" clId="{A0CC2E6C-E241-4647-A224-C6EBBD337061}" dt="2023-10-17T10:46:04.198" v="5879" actId="478"/>
          <ac:picMkLst>
            <pc:docMk/>
            <pc:sldMk cId="2374743628" sldId="3266"/>
            <ac:picMk id="12" creationId="{97ED0372-2ADE-19F1-72AC-8CAE66FE9C2A}"/>
          </ac:picMkLst>
        </pc:picChg>
        <pc:picChg chg="add mod">
          <ac:chgData name="Buchegger, Dominik" userId="4419538d-6150-464b-ac11-eb0323261855" providerId="ADAL" clId="{A0CC2E6C-E241-4647-A224-C6EBBD337061}" dt="2023-10-17T10:57:06.315" v="7029" actId="1076"/>
          <ac:picMkLst>
            <pc:docMk/>
            <pc:sldMk cId="2374743628" sldId="3266"/>
            <ac:picMk id="13" creationId="{17D194FA-3A7E-F0A2-1ABD-DDFDAEC171EC}"/>
          </ac:picMkLst>
        </pc:picChg>
      </pc:sldChg>
      <pc:sldChg chg="modSp add del mod">
        <pc:chgData name="Buchegger, Dominik" userId="4419538d-6150-464b-ac11-eb0323261855" providerId="ADAL" clId="{A0CC2E6C-E241-4647-A224-C6EBBD337061}" dt="2023-10-17T10:39:51" v="5868" actId="47"/>
        <pc:sldMkLst>
          <pc:docMk/>
          <pc:sldMk cId="3739087646" sldId="3266"/>
        </pc:sldMkLst>
        <pc:spChg chg="mod">
          <ac:chgData name="Buchegger, Dominik" userId="4419538d-6150-464b-ac11-eb0323261855" providerId="ADAL" clId="{A0CC2E6C-E241-4647-A224-C6EBBD337061}" dt="2023-10-17T10:39:41.556" v="5867" actId="27636"/>
          <ac:spMkLst>
            <pc:docMk/>
            <pc:sldMk cId="3739087646" sldId="3266"/>
            <ac:spMk id="9" creationId="{59B53215-B6F1-5EC0-B1AC-A12EE89612BE}"/>
          </ac:spMkLst>
        </pc:spChg>
      </pc:sldChg>
      <pc:sldChg chg="addSp delSp modSp add mod">
        <pc:chgData name="Buchegger, Dominik" userId="4419538d-6150-464b-ac11-eb0323261855" providerId="ADAL" clId="{A0CC2E6C-E241-4647-A224-C6EBBD337061}" dt="2023-10-18T08:16:48.668" v="8500" actId="20577"/>
        <pc:sldMkLst>
          <pc:docMk/>
          <pc:sldMk cId="2216032860" sldId="3267"/>
        </pc:sldMkLst>
        <pc:spChg chg="mod">
          <ac:chgData name="Buchegger, Dominik" userId="4419538d-6150-464b-ac11-eb0323261855" providerId="ADAL" clId="{A0CC2E6C-E241-4647-A224-C6EBBD337061}" dt="2023-10-17T10:57:02.149" v="7028" actId="20577"/>
          <ac:spMkLst>
            <pc:docMk/>
            <pc:sldMk cId="2216032860" sldId="3267"/>
            <ac:spMk id="8" creationId="{E0EB712D-88FF-652F-AD07-EBE500FC8B72}"/>
          </ac:spMkLst>
        </pc:spChg>
        <pc:spChg chg="mod">
          <ac:chgData name="Buchegger, Dominik" userId="4419538d-6150-464b-ac11-eb0323261855" providerId="ADAL" clId="{A0CC2E6C-E241-4647-A224-C6EBBD337061}" dt="2023-10-18T08:16:48.668" v="8500" actId="20577"/>
          <ac:spMkLst>
            <pc:docMk/>
            <pc:sldMk cId="2216032860" sldId="3267"/>
            <ac:spMk id="9" creationId="{59B53215-B6F1-5EC0-B1AC-A12EE89612BE}"/>
          </ac:spMkLst>
        </pc:spChg>
        <pc:picChg chg="add mod">
          <ac:chgData name="Buchegger, Dominik" userId="4419538d-6150-464b-ac11-eb0323261855" providerId="ADAL" clId="{A0CC2E6C-E241-4647-A224-C6EBBD337061}" dt="2023-10-17T10:56:23.840" v="6971" actId="1076"/>
          <ac:picMkLst>
            <pc:docMk/>
            <pc:sldMk cId="2216032860" sldId="3267"/>
            <ac:picMk id="6" creationId="{FE1FC3F6-B33B-4540-BBF0-3D50C8750C6F}"/>
          </ac:picMkLst>
        </pc:picChg>
        <pc:picChg chg="del">
          <ac:chgData name="Buchegger, Dominik" userId="4419538d-6150-464b-ac11-eb0323261855" providerId="ADAL" clId="{A0CC2E6C-E241-4647-A224-C6EBBD337061}" dt="2023-10-17T10:49:12.560" v="5992" actId="478"/>
          <ac:picMkLst>
            <pc:docMk/>
            <pc:sldMk cId="2216032860" sldId="3267"/>
            <ac:picMk id="7" creationId="{F86D6191-0350-F439-22AE-880487F67340}"/>
          </ac:picMkLst>
        </pc:picChg>
        <pc:picChg chg="del">
          <ac:chgData name="Buchegger, Dominik" userId="4419538d-6150-464b-ac11-eb0323261855" providerId="ADAL" clId="{A0CC2E6C-E241-4647-A224-C6EBBD337061}" dt="2023-10-17T10:49:11.444" v="5991" actId="478"/>
          <ac:picMkLst>
            <pc:docMk/>
            <pc:sldMk cId="2216032860" sldId="3267"/>
            <ac:picMk id="13" creationId="{17D194FA-3A7E-F0A2-1ABD-DDFDAEC171EC}"/>
          </ac:picMkLst>
        </pc:picChg>
      </pc:sldChg>
      <pc:sldChg chg="add del">
        <pc:chgData name="Buchegger, Dominik" userId="4419538d-6150-464b-ac11-eb0323261855" providerId="ADAL" clId="{A0CC2E6C-E241-4647-A224-C6EBBD337061}" dt="2023-10-18T07:20:57.904" v="7079" actId="47"/>
        <pc:sldMkLst>
          <pc:docMk/>
          <pc:sldMk cId="510335" sldId="3270"/>
        </pc:sldMkLst>
      </pc:sldChg>
      <pc:sldChg chg="modSp add del mod">
        <pc:chgData name="Buchegger, Dominik" userId="4419538d-6150-464b-ac11-eb0323261855" providerId="ADAL" clId="{A0CC2E6C-E241-4647-A224-C6EBBD337061}" dt="2023-10-18T07:22:29.952" v="7138" actId="47"/>
        <pc:sldMkLst>
          <pc:docMk/>
          <pc:sldMk cId="3776379726" sldId="3272"/>
        </pc:sldMkLst>
        <pc:spChg chg="mod">
          <ac:chgData name="Buchegger, Dominik" userId="4419538d-6150-464b-ac11-eb0323261855" providerId="ADAL" clId="{A0CC2E6C-E241-4647-A224-C6EBBD337061}" dt="2023-10-18T07:21:59.540" v="7133" actId="20577"/>
          <ac:spMkLst>
            <pc:docMk/>
            <pc:sldMk cId="3776379726" sldId="3272"/>
            <ac:spMk id="3" creationId="{BF58D3EF-6EC2-F730-7383-677D9F68C189}"/>
          </ac:spMkLst>
        </pc:spChg>
      </pc:sldChg>
      <pc:sldChg chg="modSp add mod ord">
        <pc:chgData name="Buchegger, Dominik" userId="4419538d-6150-464b-ac11-eb0323261855" providerId="ADAL" clId="{A0CC2E6C-E241-4647-A224-C6EBBD337061}" dt="2023-10-18T07:51:58.001" v="7864" actId="20577"/>
        <pc:sldMkLst>
          <pc:docMk/>
          <pc:sldMk cId="280507971" sldId="3273"/>
        </pc:sldMkLst>
        <pc:spChg chg="mod">
          <ac:chgData name="Buchegger, Dominik" userId="4419538d-6150-464b-ac11-eb0323261855" providerId="ADAL" clId="{A0CC2E6C-E241-4647-A224-C6EBBD337061}" dt="2023-10-18T07:48:53.853" v="7813" actId="207"/>
          <ac:spMkLst>
            <pc:docMk/>
            <pc:sldMk cId="280507971" sldId="3273"/>
            <ac:spMk id="3" creationId="{BF58D3EF-6EC2-F730-7383-677D9F68C189}"/>
          </ac:spMkLst>
        </pc:spChg>
        <pc:spChg chg="mod">
          <ac:chgData name="Buchegger, Dominik" userId="4419538d-6150-464b-ac11-eb0323261855" providerId="ADAL" clId="{A0CC2E6C-E241-4647-A224-C6EBBD337061}" dt="2023-10-18T07:51:58.001" v="7864" actId="20577"/>
          <ac:spMkLst>
            <pc:docMk/>
            <pc:sldMk cId="280507971" sldId="3273"/>
            <ac:spMk id="5" creationId="{D5FD503B-6A69-CF2A-AEFC-6B9C8067830B}"/>
          </ac:spMkLst>
        </pc:spChg>
      </pc:sldChg>
      <pc:sldChg chg="addSp delSp modSp add mod ord modClrScheme chgLayout">
        <pc:chgData name="Buchegger, Dominik" userId="4419538d-6150-464b-ac11-eb0323261855" providerId="ADAL" clId="{A0CC2E6C-E241-4647-A224-C6EBBD337061}" dt="2023-10-18T08:11:06.795" v="8466" actId="1076"/>
        <pc:sldMkLst>
          <pc:docMk/>
          <pc:sldMk cId="425664117" sldId="3276"/>
        </pc:sldMkLst>
        <pc:spChg chg="mod ord">
          <ac:chgData name="Buchegger, Dominik" userId="4419538d-6150-464b-ac11-eb0323261855" providerId="ADAL" clId="{A0CC2E6C-E241-4647-A224-C6EBBD337061}" dt="2023-10-18T07:51:40.088" v="7858" actId="700"/>
          <ac:spMkLst>
            <pc:docMk/>
            <pc:sldMk cId="425664117" sldId="3276"/>
            <ac:spMk id="2" creationId="{325B15D2-9859-3B75-00FB-3D3866A35284}"/>
          </ac:spMkLst>
        </pc:spChg>
        <pc:spChg chg="del mod ord">
          <ac:chgData name="Buchegger, Dominik" userId="4419538d-6150-464b-ac11-eb0323261855" providerId="ADAL" clId="{A0CC2E6C-E241-4647-A224-C6EBBD337061}" dt="2023-10-18T07:25:17.961" v="7144" actId="700"/>
          <ac:spMkLst>
            <pc:docMk/>
            <pc:sldMk cId="425664117" sldId="3276"/>
            <ac:spMk id="3" creationId="{BF58D3EF-6EC2-F730-7383-677D9F68C189}"/>
          </ac:spMkLst>
        </pc:spChg>
        <pc:spChg chg="mod ord">
          <ac:chgData name="Buchegger, Dominik" userId="4419538d-6150-464b-ac11-eb0323261855" providerId="ADAL" clId="{A0CC2E6C-E241-4647-A224-C6EBBD337061}" dt="2023-10-18T07:51:40.088" v="7858" actId="700"/>
          <ac:spMkLst>
            <pc:docMk/>
            <pc:sldMk cId="425664117" sldId="3276"/>
            <ac:spMk id="4" creationId="{67015ED8-A435-C16A-145F-3225CB29F46E}"/>
          </ac:spMkLst>
        </pc:spChg>
        <pc:spChg chg="del mod ord">
          <ac:chgData name="Buchegger, Dominik" userId="4419538d-6150-464b-ac11-eb0323261855" providerId="ADAL" clId="{A0CC2E6C-E241-4647-A224-C6EBBD337061}" dt="2023-10-18T07:49:29.044" v="7818" actId="478"/>
          <ac:spMkLst>
            <pc:docMk/>
            <pc:sldMk cId="425664117" sldId="3276"/>
            <ac:spMk id="5" creationId="{D5FD503B-6A69-CF2A-AEFC-6B9C8067830B}"/>
          </ac:spMkLst>
        </pc:spChg>
        <pc:spChg chg="add del mod ord">
          <ac:chgData name="Buchegger, Dominik" userId="4419538d-6150-464b-ac11-eb0323261855" providerId="ADAL" clId="{A0CC2E6C-E241-4647-A224-C6EBBD337061}" dt="2023-10-18T07:49:23.201" v="7816"/>
          <ac:spMkLst>
            <pc:docMk/>
            <pc:sldMk cId="425664117" sldId="3276"/>
            <ac:spMk id="6" creationId="{1782AFD6-98A3-A160-7ACF-CA77B2583D4B}"/>
          </ac:spMkLst>
        </pc:spChg>
        <pc:spChg chg="add del mod">
          <ac:chgData name="Buchegger, Dominik" userId="4419538d-6150-464b-ac11-eb0323261855" providerId="ADAL" clId="{A0CC2E6C-E241-4647-A224-C6EBBD337061}" dt="2023-10-18T07:27:28.003" v="7160" actId="21"/>
          <ac:spMkLst>
            <pc:docMk/>
            <pc:sldMk cId="425664117" sldId="3276"/>
            <ac:spMk id="9" creationId="{8D02971E-5789-4209-CCBD-5E2B8D35F9BF}"/>
          </ac:spMkLst>
        </pc:spChg>
        <pc:spChg chg="add mod">
          <ac:chgData name="Buchegger, Dominik" userId="4419538d-6150-464b-ac11-eb0323261855" providerId="ADAL" clId="{A0CC2E6C-E241-4647-A224-C6EBBD337061}" dt="2023-10-18T07:27:41.444" v="7165" actId="14100"/>
          <ac:spMkLst>
            <pc:docMk/>
            <pc:sldMk cId="425664117" sldId="3276"/>
            <ac:spMk id="10" creationId="{799B5638-A48D-4C18-E9C4-046306620A5C}"/>
          </ac:spMkLst>
        </pc:spChg>
        <pc:spChg chg="add mod">
          <ac:chgData name="Buchegger, Dominik" userId="4419538d-6150-464b-ac11-eb0323261855" providerId="ADAL" clId="{A0CC2E6C-E241-4647-A224-C6EBBD337061}" dt="2023-10-18T07:27:51.284" v="7169" actId="1076"/>
          <ac:spMkLst>
            <pc:docMk/>
            <pc:sldMk cId="425664117" sldId="3276"/>
            <ac:spMk id="11" creationId="{B269AE68-F50C-C95B-724E-009A81C0E6BC}"/>
          </ac:spMkLst>
        </pc:spChg>
        <pc:spChg chg="add mod">
          <ac:chgData name="Buchegger, Dominik" userId="4419538d-6150-464b-ac11-eb0323261855" providerId="ADAL" clId="{A0CC2E6C-E241-4647-A224-C6EBBD337061}" dt="2023-10-18T07:28:03.960" v="7172" actId="14100"/>
          <ac:spMkLst>
            <pc:docMk/>
            <pc:sldMk cId="425664117" sldId="3276"/>
            <ac:spMk id="12" creationId="{9CF00EED-9D23-8901-5809-92B24E63240B}"/>
          </ac:spMkLst>
        </pc:spChg>
        <pc:spChg chg="add mod ord">
          <ac:chgData name="Buchegger, Dominik" userId="4419538d-6150-464b-ac11-eb0323261855" providerId="ADAL" clId="{A0CC2E6C-E241-4647-A224-C6EBBD337061}" dt="2023-10-18T07:51:52.920" v="7863" actId="20577"/>
          <ac:spMkLst>
            <pc:docMk/>
            <pc:sldMk cId="425664117" sldId="3276"/>
            <ac:spMk id="21" creationId="{3562B7A6-C428-0BA2-89BC-CF3868B195B6}"/>
          </ac:spMkLst>
        </pc:spChg>
        <pc:spChg chg="add mod">
          <ac:chgData name="Buchegger, Dominik" userId="4419538d-6150-464b-ac11-eb0323261855" providerId="ADAL" clId="{A0CC2E6C-E241-4647-A224-C6EBBD337061}" dt="2023-10-18T08:11:06.795" v="8466" actId="1076"/>
          <ac:spMkLst>
            <pc:docMk/>
            <pc:sldMk cId="425664117" sldId="3276"/>
            <ac:spMk id="22" creationId="{D0C8AEF4-0FC3-4A76-D901-63EB490788CE}"/>
          </ac:spMkLst>
        </pc:spChg>
        <pc:spChg chg="add mod">
          <ac:chgData name="Buchegger, Dominik" userId="4419538d-6150-464b-ac11-eb0323261855" providerId="ADAL" clId="{A0CC2E6C-E241-4647-A224-C6EBBD337061}" dt="2023-10-18T08:10:07.353" v="8465" actId="13822"/>
          <ac:spMkLst>
            <pc:docMk/>
            <pc:sldMk cId="425664117" sldId="3276"/>
            <ac:spMk id="25" creationId="{86ACF705-0E7E-72A4-677A-DFF7494CB653}"/>
          </ac:spMkLst>
        </pc:spChg>
        <pc:picChg chg="add mod">
          <ac:chgData name="Buchegger, Dominik" userId="4419538d-6150-464b-ac11-eb0323261855" providerId="ADAL" clId="{A0CC2E6C-E241-4647-A224-C6EBBD337061}" dt="2023-10-18T07:27:44.495" v="7168" actId="1076"/>
          <ac:picMkLst>
            <pc:docMk/>
            <pc:sldMk cId="425664117" sldId="3276"/>
            <ac:picMk id="8" creationId="{E4B44A47-99BE-B935-3E95-6A549CA55ADC}"/>
          </ac:picMkLst>
        </pc:picChg>
        <pc:picChg chg="add del mod">
          <ac:chgData name="Buchegger, Dominik" userId="4419538d-6150-464b-ac11-eb0323261855" providerId="ADAL" clId="{A0CC2E6C-E241-4647-A224-C6EBBD337061}" dt="2023-10-18T07:49:19.520" v="7815"/>
          <ac:picMkLst>
            <pc:docMk/>
            <pc:sldMk cId="425664117" sldId="3276"/>
            <ac:picMk id="14" creationId="{50A6689C-2FD6-063C-B161-B77C6C3E9368}"/>
          </ac:picMkLst>
        </pc:picChg>
        <pc:picChg chg="add mod ord">
          <ac:chgData name="Buchegger, Dominik" userId="4419538d-6150-464b-ac11-eb0323261855" providerId="ADAL" clId="{A0CC2E6C-E241-4647-A224-C6EBBD337061}" dt="2023-10-18T08:09:47.412" v="8452" actId="1076"/>
          <ac:picMkLst>
            <pc:docMk/>
            <pc:sldMk cId="425664117" sldId="3276"/>
            <ac:picMk id="16" creationId="{A721E402-6640-F411-98A1-D366176D99B5}"/>
          </ac:picMkLst>
        </pc:picChg>
        <pc:picChg chg="add mod">
          <ac:chgData name="Buchegger, Dominik" userId="4419538d-6150-464b-ac11-eb0323261855" providerId="ADAL" clId="{A0CC2E6C-E241-4647-A224-C6EBBD337061}" dt="2023-10-18T07:50:13.637" v="7826" actId="1076"/>
          <ac:picMkLst>
            <pc:docMk/>
            <pc:sldMk cId="425664117" sldId="3276"/>
            <ac:picMk id="20" creationId="{B5536DA9-E4E6-E5BE-E2DC-9D72E4495E3D}"/>
          </ac:picMkLst>
        </pc:picChg>
        <pc:picChg chg="add mod">
          <ac:chgData name="Buchegger, Dominik" userId="4419538d-6150-464b-ac11-eb0323261855" providerId="ADAL" clId="{A0CC2E6C-E241-4647-A224-C6EBBD337061}" dt="2023-10-18T08:11:06.795" v="8466" actId="1076"/>
          <ac:picMkLst>
            <pc:docMk/>
            <pc:sldMk cId="425664117" sldId="3276"/>
            <ac:picMk id="24" creationId="{3B662EA7-95E1-0E2E-9202-89523F4A630F}"/>
          </ac:picMkLst>
        </pc:picChg>
        <pc:cxnChg chg="add mod">
          <ac:chgData name="Buchegger, Dominik" userId="4419538d-6150-464b-ac11-eb0323261855" providerId="ADAL" clId="{A0CC2E6C-E241-4647-A224-C6EBBD337061}" dt="2023-10-18T07:56:10.132" v="7895" actId="1037"/>
          <ac:cxnSpMkLst>
            <pc:docMk/>
            <pc:sldMk cId="425664117" sldId="3276"/>
            <ac:cxnSpMk id="18" creationId="{0CB8B81B-F62C-1A2F-58FB-CB37000C5FDD}"/>
          </ac:cxnSpMkLst>
        </pc:cxnChg>
      </pc:sldChg>
      <pc:sldChg chg="add del">
        <pc:chgData name="Buchegger, Dominik" userId="4419538d-6150-464b-ac11-eb0323261855" providerId="ADAL" clId="{A0CC2E6C-E241-4647-A224-C6EBBD337061}" dt="2023-10-18T07:48:35.659" v="7811" actId="47"/>
        <pc:sldMkLst>
          <pc:docMk/>
          <pc:sldMk cId="2021051706" sldId="3278"/>
        </pc:sldMkLst>
      </pc:sldChg>
      <pc:sldChg chg="modSp add mod">
        <pc:chgData name="Buchegger, Dominik" userId="4419538d-6150-464b-ac11-eb0323261855" providerId="ADAL" clId="{A0CC2E6C-E241-4647-A224-C6EBBD337061}" dt="2023-10-18T07:52:00.701" v="7865" actId="20577"/>
        <pc:sldMkLst>
          <pc:docMk/>
          <pc:sldMk cId="3706534506" sldId="3279"/>
        </pc:sldMkLst>
        <pc:spChg chg="mod">
          <ac:chgData name="Buchegger, Dominik" userId="4419538d-6150-464b-ac11-eb0323261855" providerId="ADAL" clId="{A0CC2E6C-E241-4647-A224-C6EBBD337061}" dt="2023-10-18T07:44:09.037" v="7602" actId="20577"/>
          <ac:spMkLst>
            <pc:docMk/>
            <pc:sldMk cId="3706534506" sldId="3279"/>
            <ac:spMk id="2" creationId="{325B15D2-9859-3B75-00FB-3D3866A35284}"/>
          </ac:spMkLst>
        </pc:spChg>
        <pc:spChg chg="mod">
          <ac:chgData name="Buchegger, Dominik" userId="4419538d-6150-464b-ac11-eb0323261855" providerId="ADAL" clId="{A0CC2E6C-E241-4647-A224-C6EBBD337061}" dt="2023-10-18T07:30:56.590" v="7239" actId="20577"/>
          <ac:spMkLst>
            <pc:docMk/>
            <pc:sldMk cId="3706534506" sldId="3279"/>
            <ac:spMk id="3" creationId="{BF58D3EF-6EC2-F730-7383-677D9F68C189}"/>
          </ac:spMkLst>
        </pc:spChg>
        <pc:spChg chg="mod">
          <ac:chgData name="Buchegger, Dominik" userId="4419538d-6150-464b-ac11-eb0323261855" providerId="ADAL" clId="{A0CC2E6C-E241-4647-A224-C6EBBD337061}" dt="2023-10-18T07:52:00.701" v="7865" actId="20577"/>
          <ac:spMkLst>
            <pc:docMk/>
            <pc:sldMk cId="3706534506" sldId="3279"/>
            <ac:spMk id="5" creationId="{D5FD503B-6A69-CF2A-AEFC-6B9C8067830B}"/>
          </ac:spMkLst>
        </pc:spChg>
      </pc:sldChg>
      <pc:sldChg chg="add del">
        <pc:chgData name="Buchegger, Dominik" userId="4419538d-6150-464b-ac11-eb0323261855" providerId="ADAL" clId="{A0CC2E6C-E241-4647-A224-C6EBBD337061}" dt="2023-10-18T07:23:25.122" v="7142" actId="47"/>
        <pc:sldMkLst>
          <pc:docMk/>
          <pc:sldMk cId="505219711" sldId="3283"/>
        </pc:sldMkLst>
      </pc:sldChg>
      <pc:sldChg chg="addSp delSp modSp add mod ord">
        <pc:chgData name="Buchegger, Dominik" userId="4419538d-6150-464b-ac11-eb0323261855" providerId="ADAL" clId="{A0CC2E6C-E241-4647-A224-C6EBBD337061}" dt="2023-10-18T08:11:57.688" v="8487" actId="20577"/>
        <pc:sldMkLst>
          <pc:docMk/>
          <pc:sldMk cId="1026766728" sldId="3284"/>
        </pc:sldMkLst>
        <pc:spChg chg="mod">
          <ac:chgData name="Buchegger, Dominik" userId="4419538d-6150-464b-ac11-eb0323261855" providerId="ADAL" clId="{A0CC2E6C-E241-4647-A224-C6EBBD337061}" dt="2023-10-18T07:59:48.652" v="8105" actId="20577"/>
          <ac:spMkLst>
            <pc:docMk/>
            <pc:sldMk cId="1026766728" sldId="3284"/>
            <ac:spMk id="3" creationId="{74CDBB7D-2923-FC10-F22A-969AB91FC5BF}"/>
          </ac:spMkLst>
        </pc:spChg>
        <pc:spChg chg="mod">
          <ac:chgData name="Buchegger, Dominik" userId="4419538d-6150-464b-ac11-eb0323261855" providerId="ADAL" clId="{A0CC2E6C-E241-4647-A224-C6EBBD337061}" dt="2023-10-18T08:11:57.688" v="8487" actId="20577"/>
          <ac:spMkLst>
            <pc:docMk/>
            <pc:sldMk cId="1026766728" sldId="3284"/>
            <ac:spMk id="5" creationId="{58487C1B-BCA9-113A-4A50-197FBA0711EB}"/>
          </ac:spMkLst>
        </pc:spChg>
        <pc:spChg chg="mod">
          <ac:chgData name="Buchegger, Dominik" userId="4419538d-6150-464b-ac11-eb0323261855" providerId="ADAL" clId="{A0CC2E6C-E241-4647-A224-C6EBBD337061}" dt="2023-10-18T08:00:58.863" v="8158" actId="20577"/>
          <ac:spMkLst>
            <pc:docMk/>
            <pc:sldMk cId="1026766728" sldId="3284"/>
            <ac:spMk id="6" creationId="{55D629D8-4129-A3EF-50F3-130621B3883B}"/>
          </ac:spMkLst>
        </pc:spChg>
        <pc:spChg chg="add mod">
          <ac:chgData name="Buchegger, Dominik" userId="4419538d-6150-464b-ac11-eb0323261855" providerId="ADAL" clId="{A0CC2E6C-E241-4647-A224-C6EBBD337061}" dt="2023-10-18T08:00:34.710" v="8112" actId="1076"/>
          <ac:spMkLst>
            <pc:docMk/>
            <pc:sldMk cId="1026766728" sldId="3284"/>
            <ac:spMk id="10" creationId="{07B56918-0AC5-7319-1F7B-190899D2FD4A}"/>
          </ac:spMkLst>
        </pc:spChg>
        <pc:spChg chg="add del mod">
          <ac:chgData name="Buchegger, Dominik" userId="4419538d-6150-464b-ac11-eb0323261855" providerId="ADAL" clId="{A0CC2E6C-E241-4647-A224-C6EBBD337061}" dt="2023-10-18T07:52:33.049" v="7867" actId="21"/>
          <ac:spMkLst>
            <pc:docMk/>
            <pc:sldMk cId="1026766728" sldId="3284"/>
            <ac:spMk id="12" creationId="{6F55A585-4C2C-9CF9-1FBF-6E3F857CBE52}"/>
          </ac:spMkLst>
        </pc:spChg>
      </pc:sldChg>
      <pc:sldChg chg="modSp new del mod ord setBg">
        <pc:chgData name="Buchegger, Dominik" userId="4419538d-6150-464b-ac11-eb0323261855" providerId="ADAL" clId="{A0CC2E6C-E241-4647-A224-C6EBBD337061}" dt="2023-10-18T08:09:24.033" v="8419" actId="47"/>
        <pc:sldMkLst>
          <pc:docMk/>
          <pc:sldMk cId="917015371" sldId="3285"/>
        </pc:sldMkLst>
        <pc:spChg chg="mod">
          <ac:chgData name="Buchegger, Dominik" userId="4419538d-6150-464b-ac11-eb0323261855" providerId="ADAL" clId="{A0CC2E6C-E241-4647-A224-C6EBBD337061}" dt="2023-10-18T07:56:28.759" v="7907" actId="20577"/>
          <ac:spMkLst>
            <pc:docMk/>
            <pc:sldMk cId="917015371" sldId="3285"/>
            <ac:spMk id="2" creationId="{6DA1EDF1-294E-3F9B-6B84-A0C6B5CCF754}"/>
          </ac:spMkLst>
        </pc:spChg>
        <pc:spChg chg="mod">
          <ac:chgData name="Buchegger, Dominik" userId="4419538d-6150-464b-ac11-eb0323261855" providerId="ADAL" clId="{A0CC2E6C-E241-4647-A224-C6EBBD337061}" dt="2023-10-18T07:56:52.023" v="7962" actId="20577"/>
          <ac:spMkLst>
            <pc:docMk/>
            <pc:sldMk cId="917015371" sldId="3285"/>
            <ac:spMk id="3" creationId="{042B4727-0903-2F9C-BE7A-C18AE0FF0377}"/>
          </ac:spMkLst>
        </pc:spChg>
      </pc:sldChg>
    </pc:docChg>
  </pc:docChgLst>
  <pc:docChgLst>
    <pc:chgData name="Maillard, Alexiane" userId="S::alexiane.maillard@student.unisg.ch::50e9f12d-6c48-4918-8cf8-0a805f3546a2" providerId="AD" clId="Web-{B33E4B77-107C-46A5-8646-26CA426BC8A0}"/>
    <pc:docChg chg="modSld">
      <pc:chgData name="Maillard, Alexiane" userId="S::alexiane.maillard@student.unisg.ch::50e9f12d-6c48-4918-8cf8-0a805f3546a2" providerId="AD" clId="Web-{B33E4B77-107C-46A5-8646-26CA426BC8A0}" dt="2023-10-19T16:33:26.245" v="1" actId="20577"/>
      <pc:docMkLst>
        <pc:docMk/>
      </pc:docMkLst>
      <pc:sldChg chg="modSp">
        <pc:chgData name="Maillard, Alexiane" userId="S::alexiane.maillard@student.unisg.ch::50e9f12d-6c48-4918-8cf8-0a805f3546a2" providerId="AD" clId="Web-{B33E4B77-107C-46A5-8646-26CA426BC8A0}" dt="2023-10-19T16:33:26.245" v="1" actId="20577"/>
        <pc:sldMkLst>
          <pc:docMk/>
          <pc:sldMk cId="280507971" sldId="3273"/>
        </pc:sldMkLst>
        <pc:spChg chg="mod">
          <ac:chgData name="Maillard, Alexiane" userId="S::alexiane.maillard@student.unisg.ch::50e9f12d-6c48-4918-8cf8-0a805f3546a2" providerId="AD" clId="Web-{B33E4B77-107C-46A5-8646-26CA426BC8A0}" dt="2023-10-19T16:33:26.245" v="1" actId="20577"/>
          <ac:spMkLst>
            <pc:docMk/>
            <pc:sldMk cId="280507971" sldId="3273"/>
            <ac:spMk id="3" creationId="{BF58D3EF-6EC2-F730-7383-677D9F68C189}"/>
          </ac:spMkLst>
        </pc:spChg>
      </pc:sldChg>
    </pc:docChg>
  </pc:docChgLst>
  <pc:docChgLst>
    <pc:chgData name="Deveci, Esra" userId="S::esra.deveci@student.unisg.ch::bdf94d6b-8c82-4c8f-9a28-cd76adb8da55" providerId="AD" clId="Web-{F7C90FE1-917F-4ACF-8389-9FEFD50AA470}"/>
    <pc:docChg chg="modSld">
      <pc:chgData name="Deveci, Esra" userId="S::esra.deveci@student.unisg.ch::bdf94d6b-8c82-4c8f-9a28-cd76adb8da55" providerId="AD" clId="Web-{F7C90FE1-917F-4ACF-8389-9FEFD50AA470}" dt="2023-10-18T08:35:36.796" v="80" actId="20577"/>
      <pc:docMkLst>
        <pc:docMk/>
      </pc:docMkLst>
      <pc:sldChg chg="modSp">
        <pc:chgData name="Deveci, Esra" userId="S::esra.deveci@student.unisg.ch::bdf94d6b-8c82-4c8f-9a28-cd76adb8da55" providerId="AD" clId="Web-{F7C90FE1-917F-4ACF-8389-9FEFD50AA470}" dt="2023-10-18T08:11:54.736" v="10" actId="20577"/>
        <pc:sldMkLst>
          <pc:docMk/>
          <pc:sldMk cId="1352991866" sldId="1492"/>
        </pc:sldMkLst>
        <pc:spChg chg="mod">
          <ac:chgData name="Deveci, Esra" userId="S::esra.deveci@student.unisg.ch::bdf94d6b-8c82-4c8f-9a28-cd76adb8da55" providerId="AD" clId="Web-{F7C90FE1-917F-4ACF-8389-9FEFD50AA470}" dt="2023-10-18T08:11:54.736" v="10" actId="20577"/>
          <ac:spMkLst>
            <pc:docMk/>
            <pc:sldMk cId="1352991866" sldId="1492"/>
            <ac:spMk id="9" creationId="{59B53215-B6F1-5EC0-B1AC-A12EE89612BE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34:14.014" v="75" actId="14100"/>
        <pc:sldMkLst>
          <pc:docMk/>
          <pc:sldMk cId="223196536" sldId="1512"/>
        </pc:sldMkLst>
        <pc:spChg chg="mod">
          <ac:chgData name="Deveci, Esra" userId="S::esra.deveci@student.unisg.ch::bdf94d6b-8c82-4c8f-9a28-cd76adb8da55" providerId="AD" clId="Web-{F7C90FE1-917F-4ACF-8389-9FEFD50AA470}" dt="2023-10-18T08:34:14.014" v="75" actId="14100"/>
          <ac:spMkLst>
            <pc:docMk/>
            <pc:sldMk cId="223196536" sldId="1512"/>
            <ac:spMk id="2" creationId="{C36256A2-67B2-CA01-7417-6A9C17C6B307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24:49.033" v="52" actId="20577"/>
        <pc:sldMkLst>
          <pc:docMk/>
          <pc:sldMk cId="1140837249" sldId="1513"/>
        </pc:sldMkLst>
        <pc:spChg chg="mod">
          <ac:chgData name="Deveci, Esra" userId="S::esra.deveci@student.unisg.ch::bdf94d6b-8c82-4c8f-9a28-cd76adb8da55" providerId="AD" clId="Web-{F7C90FE1-917F-4ACF-8389-9FEFD50AA470}" dt="2023-10-18T08:24:49.033" v="52" actId="20577"/>
          <ac:spMkLst>
            <pc:docMk/>
            <pc:sldMk cId="1140837249" sldId="1513"/>
            <ac:spMk id="5" creationId="{9753CDC6-4ADE-52EE-4C52-8C392CCD1E97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26:43.536" v="63" actId="20577"/>
        <pc:sldMkLst>
          <pc:docMk/>
          <pc:sldMk cId="56286098" sldId="1515"/>
        </pc:sldMkLst>
        <pc:spChg chg="mod">
          <ac:chgData name="Deveci, Esra" userId="S::esra.deveci@student.unisg.ch::bdf94d6b-8c82-4c8f-9a28-cd76adb8da55" providerId="AD" clId="Web-{F7C90FE1-917F-4ACF-8389-9FEFD50AA470}" dt="2023-10-18T08:26:43.536" v="63" actId="20577"/>
          <ac:spMkLst>
            <pc:docMk/>
            <pc:sldMk cId="56286098" sldId="1515"/>
            <ac:spMk id="12" creationId="{CBE07849-60E6-8476-69FC-A0231FCD6924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24:19.767" v="50" actId="20577"/>
        <pc:sldMkLst>
          <pc:docMk/>
          <pc:sldMk cId="2184404822" sldId="1535"/>
        </pc:sldMkLst>
        <pc:spChg chg="mod">
          <ac:chgData name="Deveci, Esra" userId="S::esra.deveci@student.unisg.ch::bdf94d6b-8c82-4c8f-9a28-cd76adb8da55" providerId="AD" clId="Web-{F7C90FE1-917F-4ACF-8389-9FEFD50AA470}" dt="2023-10-18T08:24:19.767" v="50" actId="20577"/>
          <ac:spMkLst>
            <pc:docMk/>
            <pc:sldMk cId="2184404822" sldId="1535"/>
            <ac:spMk id="14" creationId="{A404712F-3F65-B612-2762-875C967988EA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31:18.369" v="69" actId="20577"/>
        <pc:sldMkLst>
          <pc:docMk/>
          <pc:sldMk cId="3358819934" sldId="1547"/>
        </pc:sldMkLst>
        <pc:spChg chg="mod">
          <ac:chgData name="Deveci, Esra" userId="S::esra.deveci@student.unisg.ch::bdf94d6b-8c82-4c8f-9a28-cd76adb8da55" providerId="AD" clId="Web-{F7C90FE1-917F-4ACF-8389-9FEFD50AA470}" dt="2023-10-18T08:31:18.369" v="69" actId="20577"/>
          <ac:spMkLst>
            <pc:docMk/>
            <pc:sldMk cId="3358819934" sldId="1547"/>
            <ac:spMk id="18" creationId="{02AEDD7E-BC9D-5C65-E16D-12510BCDF4F5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32:17.277" v="74" actId="20577"/>
        <pc:sldMkLst>
          <pc:docMk/>
          <pc:sldMk cId="2005746944" sldId="1549"/>
        </pc:sldMkLst>
        <pc:spChg chg="mod">
          <ac:chgData name="Deveci, Esra" userId="S::esra.deveci@student.unisg.ch::bdf94d6b-8c82-4c8f-9a28-cd76adb8da55" providerId="AD" clId="Web-{F7C90FE1-917F-4ACF-8389-9FEFD50AA470}" dt="2023-10-18T08:32:17.277" v="74" actId="20577"/>
          <ac:spMkLst>
            <pc:docMk/>
            <pc:sldMk cId="2005746944" sldId="1549"/>
            <ac:spMk id="8" creationId="{CC9F14B6-8F29-4215-200E-BE3B89CC6463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27:49.756" v="65" actId="1076"/>
        <pc:sldMkLst>
          <pc:docMk/>
          <pc:sldMk cId="3157765586" sldId="1554"/>
        </pc:sldMkLst>
        <pc:spChg chg="mod">
          <ac:chgData name="Deveci, Esra" userId="S::esra.deveci@student.unisg.ch::bdf94d6b-8c82-4c8f-9a28-cd76adb8da55" providerId="AD" clId="Web-{F7C90FE1-917F-4ACF-8389-9FEFD50AA470}" dt="2023-10-18T08:27:49.756" v="65" actId="1076"/>
          <ac:spMkLst>
            <pc:docMk/>
            <pc:sldMk cId="3157765586" sldId="1554"/>
            <ac:spMk id="2" creationId="{C36256A2-67B2-CA01-7417-6A9C17C6B307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30:17.259" v="67" actId="20577"/>
        <pc:sldMkLst>
          <pc:docMk/>
          <pc:sldMk cId="2111202756" sldId="1563"/>
        </pc:sldMkLst>
        <pc:spChg chg="mod">
          <ac:chgData name="Deveci, Esra" userId="S::esra.deveci@student.unisg.ch::bdf94d6b-8c82-4c8f-9a28-cd76adb8da55" providerId="AD" clId="Web-{F7C90FE1-917F-4ACF-8389-9FEFD50AA470}" dt="2023-10-18T08:30:17.259" v="67" actId="20577"/>
          <ac:spMkLst>
            <pc:docMk/>
            <pc:sldMk cId="2111202756" sldId="1563"/>
            <ac:spMk id="3" creationId="{0D09C76D-E054-0EF4-EB96-454296425ECC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11:47.533" v="7" actId="20577"/>
        <pc:sldMkLst>
          <pc:docMk/>
          <pc:sldMk cId="89875962" sldId="3265"/>
        </pc:sldMkLst>
        <pc:spChg chg="mod">
          <ac:chgData name="Deveci, Esra" userId="S::esra.deveci@student.unisg.ch::bdf94d6b-8c82-4c8f-9a28-cd76adb8da55" providerId="AD" clId="Web-{F7C90FE1-917F-4ACF-8389-9FEFD50AA470}" dt="2023-10-18T08:11:47.533" v="7" actId="20577"/>
          <ac:spMkLst>
            <pc:docMk/>
            <pc:sldMk cId="89875962" sldId="3265"/>
            <ac:spMk id="9" creationId="{59B53215-B6F1-5EC0-B1AC-A12EE89612BE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35:36.796" v="80" actId="20577"/>
        <pc:sldMkLst>
          <pc:docMk/>
          <pc:sldMk cId="2216032860" sldId="3267"/>
        </pc:sldMkLst>
        <pc:spChg chg="mod">
          <ac:chgData name="Deveci, Esra" userId="S::esra.deveci@student.unisg.ch::bdf94d6b-8c82-4c8f-9a28-cd76adb8da55" providerId="AD" clId="Web-{F7C90FE1-917F-4ACF-8389-9FEFD50AA470}" dt="2023-10-18T08:35:36.796" v="80" actId="20577"/>
          <ac:spMkLst>
            <pc:docMk/>
            <pc:sldMk cId="2216032860" sldId="3267"/>
            <ac:spMk id="9" creationId="{59B53215-B6F1-5EC0-B1AC-A12EE89612BE}"/>
          </ac:spMkLst>
        </pc:spChg>
      </pc:sldChg>
    </pc:docChg>
  </pc:docChgLst>
  <pc:docChgLst>
    <pc:chgData name="Buchegger, Dominik" userId="S::dominik.buchegger@student.unisg.ch::4419538d-6150-464b-ac11-eb0323261855" providerId="AD" clId="Web-{142499E1-D76E-4694-AD52-F202D1FC584F}"/>
    <pc:docChg chg="delSld">
      <pc:chgData name="Buchegger, Dominik" userId="S::dominik.buchegger@student.unisg.ch::4419538d-6150-464b-ac11-eb0323261855" providerId="AD" clId="Web-{142499E1-D76E-4694-AD52-F202D1FC584F}" dt="2023-10-13T11:47:57.458" v="1"/>
      <pc:docMkLst>
        <pc:docMk/>
      </pc:docMkLst>
      <pc:sldChg chg="del">
        <pc:chgData name="Buchegger, Dominik" userId="S::dominik.buchegger@student.unisg.ch::4419538d-6150-464b-ac11-eb0323261855" providerId="AD" clId="Web-{142499E1-D76E-4694-AD52-F202D1FC584F}" dt="2023-10-13T11:47:50.411" v="0"/>
        <pc:sldMkLst>
          <pc:docMk/>
          <pc:sldMk cId="2447692118" sldId="1480"/>
        </pc:sldMkLst>
      </pc:sldChg>
      <pc:sldChg chg="del">
        <pc:chgData name="Buchegger, Dominik" userId="S::dominik.buchegger@student.unisg.ch::4419538d-6150-464b-ac11-eb0323261855" providerId="AD" clId="Web-{142499E1-D76E-4694-AD52-F202D1FC584F}" dt="2023-10-13T11:47:57.458" v="1"/>
        <pc:sldMkLst>
          <pc:docMk/>
          <pc:sldMk cId="2299432622" sldId="149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F3C46-3F11-47F1-8233-2D2A4F656EAA}" type="datetimeFigureOut">
              <a:rPr lang="de-DE" smtClean="0"/>
              <a:t>27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8140C-7C65-48C5-AF48-8AE3F4A693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450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2120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751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1929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753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9295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39626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6455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81C78C-DF60-43AA-9025-896AF7F512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50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image" Target="../media/image6.jpeg"/><Relationship Id="rId7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EE742CE-731B-4B2E-A341-DD1A2BF3F5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FF74B8C-606D-4C49-A5DA-1496FFDE21B4}"/>
              </a:ext>
            </a:extLst>
          </p:cNvPr>
          <p:cNvSpPr/>
          <p:nvPr/>
        </p:nvSpPr>
        <p:spPr>
          <a:xfrm>
            <a:off x="4583371" y="3168046"/>
            <a:ext cx="4560629" cy="1975452"/>
          </a:xfrm>
          <a:custGeom>
            <a:avLst/>
            <a:gdLst>
              <a:gd name="connsiteX0" fmla="*/ 4560629 w 4560629"/>
              <a:gd name="connsiteY0" fmla="*/ 0 h 1975452"/>
              <a:gd name="connsiteX1" fmla="*/ 4560629 w 4560629"/>
              <a:gd name="connsiteY1" fmla="*/ 1975452 h 1975452"/>
              <a:gd name="connsiteX2" fmla="*/ 166568 w 4560629"/>
              <a:gd name="connsiteY2" fmla="*/ 1975452 h 1975452"/>
              <a:gd name="connsiteX3" fmla="*/ 0 w 4560629"/>
              <a:gd name="connsiteY3" fmla="*/ 1045124 h 197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0629" h="1975452">
                <a:moveTo>
                  <a:pt x="4560629" y="0"/>
                </a:moveTo>
                <a:lnTo>
                  <a:pt x="4560629" y="1975452"/>
                </a:lnTo>
                <a:lnTo>
                  <a:pt x="166568" y="1975452"/>
                </a:lnTo>
                <a:lnTo>
                  <a:pt x="0" y="104512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bg2"/>
                </a:solidFill>
              </a:rPr>
              <a:t>From </a:t>
            </a:r>
            <a:r>
              <a:rPr lang="en-GB" sz="1000" err="1">
                <a:solidFill>
                  <a:schemeClr val="bg2"/>
                </a:solidFill>
              </a:rPr>
              <a:t>insight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to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impact</a:t>
            </a:r>
            <a:r>
              <a:rPr lang="en-GB" sz="100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1609015164" name="Rectangle 2" descr="{&quot;templafy&quot;:{&quot;id&quot;:&quot;b9ddadaa-0495-446c-a774-3deec88f84b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7958210" cy="1531505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027" y="3305908"/>
            <a:ext cx="3650486" cy="117401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</p:spTree>
    <p:extLst>
      <p:ext uri="{BB962C8B-B14F-4D97-AF65-F5344CB8AC3E}">
        <p14:creationId xmlns:p14="http://schemas.microsoft.com/office/powerpoint/2010/main" val="2851768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111007C9-750C-45A4-AB1B-CB6B97990CE5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65C08088-81A0-403B-BB04-AE6002DCC26A}" type="datetime6">
              <a:rPr lang="de-CH" smtClean="0"/>
              <a:t>Okto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944674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1"/>
            <a:ext cx="4122737" cy="2621958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3DD61F4-D9DA-406C-AF0A-CAC39F14C0F6}" type="datetime6">
              <a:rPr lang="de-CH" smtClean="0"/>
              <a:t>Okto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6B5E8FE-8CBE-4759-BB01-C3BFECF4A0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4" name="Inhaltsplatzhalter 16">
            <a:extLst>
              <a:ext uri="{FF2B5EF4-FFF2-40B4-BE49-F238E27FC236}">
                <a16:creationId xmlns:a16="http://schemas.microsoft.com/office/drawing/2014/main" id="{8AD8B021-5AD6-44F8-B57D-010BB7B137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43496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67FB25E-899A-44E8-9BBB-396B4C7606B9}" type="datetime6">
              <a:rPr lang="de-CH" smtClean="0"/>
              <a:t>Okto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45398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2621958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19C7E52-FAF0-4402-816C-D519DB6324B5}" type="datetime6">
              <a:rPr lang="de-CH" smtClean="0"/>
              <a:t>Okto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A5845F3-A444-47AE-917F-673A907B90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BF83157E-6215-44CE-AB8B-6FE4750FAB3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8938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82F54D9E-7D1F-444A-82BF-BBF0595DA982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9B361C5-E514-4A70-858B-8132FB5C91DF}" type="datetime6">
              <a:rPr lang="de-CH" smtClean="0"/>
              <a:t>Oktober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763601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1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218F951F-E348-4CE7-83CE-A0ED851B26A2}" type="datetime6">
              <a:rPr lang="de-CH" smtClean="0"/>
              <a:t>Oktober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836CA3C-1FB4-448E-8E4F-D95C186A1F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6AAFEC9F-D413-4D3E-8DEC-EF47020CE4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66422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1999" cy="3887599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3887599"/>
          </a:xfrm>
          <a:pattFill prst="wdDn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17" y="3989388"/>
            <a:ext cx="4382196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486" y="3989387"/>
            <a:ext cx="4382195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pic>
        <p:nvPicPr>
          <p:cNvPr id="1613922474" name="Rectangle 14" descr="{&quot;templafy&quot;:{&quot;id&quot;:&quot;a3bfa591-4d50-4d64-bc9e-6e4385707fec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C2D3E358-7013-49C0-B535-4D724985D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486C75F3-C0D1-4ABB-8738-25AB5753A893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D796397B-38EB-490B-98F7-EB0799988FF4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5200" y="0"/>
            <a:ext cx="31788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insert a picture)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A1CDFD74-691B-4614-A492-077E7072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999" y="1204714"/>
            <a:ext cx="4810801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AE1AF548-C38C-443B-8063-F7E88D8869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810801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pic>
        <p:nvPicPr>
          <p:cNvPr id="7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E48B927-DD41-4992-B1BC-98281B1B6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8E12DF-9BBF-4E12-BDDF-B9E8E5B05C6B}" type="datetime6">
              <a:rPr lang="de-CH" smtClean="0"/>
              <a:t>Oktober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49617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9F0516-DC2F-4A1B-9AE7-52332A8498FC}" type="datetime6">
              <a:rPr lang="de-CH" smtClean="0"/>
              <a:t>Oktober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A048957-9563-4CBB-9658-4EEC37F56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3" name="Inhaltsplatzhalter 16">
            <a:extLst>
              <a:ext uri="{FF2B5EF4-FFF2-40B4-BE49-F238E27FC236}">
                <a16:creationId xmlns:a16="http://schemas.microsoft.com/office/drawing/2014/main" id="{EE6EFAB4-A25E-40AE-A96E-9D0D5472F1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9943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48C5A9E-D3FC-4F7A-895D-E35078A99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333CEB4-EDBA-436D-9394-E4DEFD39C8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199CDC-B569-4BBB-9A2F-680DDE6121E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56F08FA-3E26-4DE6-8960-EF5638923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9DA47FD-9D2D-476D-A2A9-1C05F2E33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EF01-8430-4429-BC41-FFA4FCB67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60883619-1961-463F-AD3D-4B226F4EB1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Rectangle 2" descr="{&quot;templafy&quot;:{&quot;id&quot;:&quot;b1422e0e-bb0a-41ba-ad6b-c8c9f213ea93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/>
        </p:nvSpPr>
        <p:spPr>
          <a:xfrm>
            <a:off x="4945930" y="3715567"/>
            <a:ext cx="2291576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University of St.Gallen
School of Computer Science (SCS-HSG)</a:t>
            </a:r>
          </a:p>
          <a:p>
            <a:pPr algn="l">
              <a:lnSpc>
                <a:spcPts val="1200"/>
              </a:lnSpc>
            </a:pPr>
            <a:r>
              <a:rPr lang="en-GB" sz="1000" err="1">
                <a:solidFill>
                  <a:schemeClr val="tx1"/>
                </a:solidFill>
              </a:rPr>
              <a:t>Torstrasse</a:t>
            </a:r>
            <a:r>
              <a:rPr lang="en-GB" sz="1000">
                <a:solidFill>
                  <a:schemeClr val="tx1"/>
                </a:solidFill>
              </a:rPr>
              <a:t> 25</a:t>
            </a:r>
          </a:p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9000 St.Gallen 
scs.unisg.ch</a:t>
            </a:r>
          </a:p>
        </p:txBody>
      </p:sp>
      <p:pic>
        <p:nvPicPr>
          <p:cNvPr id="16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A7C8AF82-B874-4858-A482-57343B3E6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24605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ontent, Subtitle w/o punch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9" y="844153"/>
            <a:ext cx="8640366" cy="4049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C11C2E-AD36-4B73-B462-AAD5FCEA1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385762"/>
            <a:ext cx="8640366" cy="28897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9A4A3C0D-6744-447E-BEEE-FAE26C49E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F1A4FC-02B0-44A7-816B-6DFED69839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ED31CC-9992-4EF2-9FBA-7E8136EA5B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182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50C66745-AD63-46D3-91AF-72BE6979D8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453906 h 5143500"/>
              <a:gd name="connsiteX3" fmla="*/ 5748398 w 9144000"/>
              <a:gd name="connsiteY3" fmla="*/ 1289643 h 5143500"/>
              <a:gd name="connsiteX4" fmla="*/ 6249560 w 9144000"/>
              <a:gd name="connsiteY4" fmla="*/ 3963138 h 5143500"/>
              <a:gd name="connsiteX5" fmla="*/ 9144000 w 9144000"/>
              <a:gd name="connsiteY5" fmla="*/ 4239640 h 5143500"/>
              <a:gd name="connsiteX6" fmla="*/ 9144000 w 9144000"/>
              <a:gd name="connsiteY6" fmla="*/ 5143500 h 5143500"/>
              <a:gd name="connsiteX7" fmla="*/ 0 w 914400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453906"/>
                </a:lnTo>
                <a:lnTo>
                  <a:pt x="5748398" y="1289643"/>
                </a:lnTo>
                <a:lnTo>
                  <a:pt x="6249560" y="3963138"/>
                </a:lnTo>
                <a:lnTo>
                  <a:pt x="9144000" y="423964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AD15927-0B76-484F-B9F5-0F2A908859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730729" y="1591797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sp>
        <p:nvSpPr>
          <p:cNvPr id="29" name="Titel 2">
            <a:extLst>
              <a:ext uri="{FF2B5EF4-FFF2-40B4-BE49-F238E27FC236}">
                <a16:creationId xmlns:a16="http://schemas.microsoft.com/office/drawing/2014/main" id="{07DB7A25-2D45-4530-B352-72872D010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1204714"/>
            <a:ext cx="4518700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30" name="Inhaltsplatzhalter 5">
            <a:extLst>
              <a:ext uri="{FF2B5EF4-FFF2-40B4-BE49-F238E27FC236}">
                <a16:creationId xmlns:a16="http://schemas.microsoft.com/office/drawing/2014/main" id="{066A8D03-CD39-4F89-8162-A97B7CF5D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518700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E66955E-0BC6-4E77-9B70-B03B43501DB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72152" y="428626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(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 </a:t>
            </a:r>
            <a:r>
              <a:rPr lang="de-DE" err="1"/>
              <a:t>picture</a:t>
            </a:r>
            <a:r>
              <a:rPr lang="de-DE"/>
              <a:t>)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7ACC6FF3-DF98-4F66-A5CD-D09A8C963719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pic>
        <p:nvPicPr>
          <p:cNvPr id="9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8C16689-5F42-4888-9DF2-4ABEA74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Agenda">
    <p:bg>
      <p:bgPr>
        <a:solidFill>
          <a:srgbClr val="8182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8" y="837316"/>
            <a:ext cx="8640923" cy="383265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342900">
              <a:buClr>
                <a:srgbClr val="FFFFFF"/>
              </a:buClr>
              <a:buSzPct val="120000"/>
              <a:buFont typeface="+mj-lt"/>
              <a:buAutoNum type="arabicPeriod"/>
              <a:defRPr sz="15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21600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-189000">
              <a:buClr>
                <a:srgbClr val="00802F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-189000">
              <a:defRPr sz="1200" baseline="0"/>
            </a:lvl6pPr>
          </a:lstStyle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2A895-16DA-4C23-AD86-4817FFC9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C51B3B-648A-4B4E-8ECF-64EBB77FA2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B15421-48BB-46F1-84E0-414FC65020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9604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26FE97-F26B-4E82-A0C3-596FA211B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84A2184-A254-4AC1-9845-4F49D567B0E5}"/>
              </a:ext>
            </a:extLst>
          </p:cNvPr>
          <p:cNvSpPr/>
          <p:nvPr userDrawn="1"/>
        </p:nvSpPr>
        <p:spPr bwMode="auto">
          <a:xfrm>
            <a:off x="6894258" y="3008550"/>
            <a:ext cx="2105677" cy="1237183"/>
          </a:xfrm>
          <a:prstGeom prst="rect">
            <a:avLst/>
          </a:prstGeom>
          <a:solidFill>
            <a:schemeClr val="bg1">
              <a:alpha val="81000"/>
            </a:schemeClr>
          </a:solidFill>
          <a:ln w="28575">
            <a:noFill/>
            <a:miter lim="800000"/>
            <a:headEnd/>
            <a:tailEnd type="non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t">
            <a:normAutofit/>
          </a:bodyPr>
          <a:lstStyle/>
          <a:p>
            <a:pPr lvl="0" indent="0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</a:pPr>
            <a:endParaRPr lang="de-DE" sz="788" b="0" i="0" baseline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223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3" imgH="330" progId="TCLayout.ActiveDocument.1">
                  <p:embed/>
                </p:oleObj>
              </mc:Choice>
              <mc:Fallback>
                <p:oleObj name="think-cell Slide" r:id="rId4" imgW="343" imgH="33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8DBE43-68D6-436D-88F1-57620C6AD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DAFDAA0-9F23-4913-BF4E-103760105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6307" y="4493721"/>
            <a:ext cx="1727696" cy="358829"/>
          </a:xfrm>
          <a:prstGeom prst="rect">
            <a:avLst/>
          </a:prstGeom>
        </p:spPr>
      </p:pic>
      <p:grpSp>
        <p:nvGrpSpPr>
          <p:cNvPr id="10" name="Group 11">
            <a:extLst>
              <a:ext uri="{FF2B5EF4-FFF2-40B4-BE49-F238E27FC236}">
                <a16:creationId xmlns:a16="http://schemas.microsoft.com/office/drawing/2014/main" id="{1ADFCD42-8D0A-4B1B-BA71-131A857C66A1}"/>
              </a:ext>
            </a:extLst>
          </p:cNvPr>
          <p:cNvGrpSpPr/>
          <p:nvPr userDrawn="1"/>
        </p:nvGrpSpPr>
        <p:grpSpPr>
          <a:xfrm>
            <a:off x="4788025" y="4353947"/>
            <a:ext cx="2468477" cy="583143"/>
            <a:chOff x="797910" y="3788080"/>
            <a:chExt cx="3291303" cy="7775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E0B8BF8-8CC3-441C-98B1-0C411FFD0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0406" y="3821665"/>
              <a:ext cx="513028" cy="710354"/>
            </a:xfrm>
            <a:prstGeom prst="rect">
              <a:avLst/>
            </a:prstGeom>
          </p:spPr>
        </p:pic>
        <p:pic>
          <p:nvPicPr>
            <p:cNvPr id="14" name="Grafik 7">
              <a:extLst>
                <a:ext uri="{FF2B5EF4-FFF2-40B4-BE49-F238E27FC236}">
                  <a16:creationId xmlns:a16="http://schemas.microsoft.com/office/drawing/2014/main" id="{FE47BD31-DC6A-40EA-B8D3-4A0884D50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92988" y="3900801"/>
              <a:ext cx="596225" cy="552083"/>
            </a:xfrm>
            <a:prstGeom prst="rect">
              <a:avLst/>
            </a:prstGeom>
          </p:spPr>
        </p:pic>
        <p:pic>
          <p:nvPicPr>
            <p:cNvPr id="15" name="Grafik 17">
              <a:extLst>
                <a:ext uri="{FF2B5EF4-FFF2-40B4-BE49-F238E27FC236}">
                  <a16:creationId xmlns:a16="http://schemas.microsoft.com/office/drawing/2014/main" id="{500FA54C-5CF6-491F-A606-038FE5CC3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10" y="3788080"/>
              <a:ext cx="1082350" cy="777524"/>
            </a:xfrm>
            <a:prstGeom prst="rect">
              <a:avLst/>
            </a:prstGeom>
          </p:spPr>
        </p:pic>
      </p:grp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71D323B-0EDD-4B03-83CD-A49C15F19CB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385785" y="3585129"/>
            <a:ext cx="1541998" cy="594066"/>
          </a:xfrm>
        </p:spPr>
        <p:txBody>
          <a:bodyPr vert="horz" lIns="0" tIns="0" rIns="0" bIns="0" rtlCol="0">
            <a:noAutofit/>
          </a:bodyPr>
          <a:lstStyle>
            <a:lvl1pPr>
              <a:defRPr lang="de-CH" sz="750" b="1" dirty="0" smtClean="0"/>
            </a:lvl1pPr>
            <a:lvl2pPr>
              <a:defRPr lang="de-CH" sz="750" dirty="0" smtClean="0"/>
            </a:lvl2pPr>
            <a:lvl3pPr>
              <a:defRPr lang="de-CH" sz="750" dirty="0" smtClean="0"/>
            </a:lvl3pPr>
            <a:lvl4pPr>
              <a:defRPr lang="de-CH" sz="750" dirty="0" smtClean="0"/>
            </a:lvl4pPr>
            <a:lvl5pPr>
              <a:defRPr lang="de-CH" sz="750" dirty="0" smtClean="0"/>
            </a:lvl5pPr>
          </a:lstStyle>
          <a:p>
            <a:pPr marL="0" lvl="0" indent="0">
              <a:buNone/>
            </a:pPr>
            <a:r>
              <a:rPr lang="de-CH"/>
              <a:t>&lt;Title&gt; </a:t>
            </a:r>
            <a:r>
              <a:rPr lang="de-CH" err="1"/>
              <a:t>FirstName</a:t>
            </a:r>
            <a:r>
              <a:rPr lang="de-CH"/>
              <a:t> </a:t>
            </a:r>
            <a:r>
              <a:rPr lang="de-CH" err="1"/>
              <a:t>LastName</a:t>
            </a:r>
            <a:endParaRPr lang="de-CH"/>
          </a:p>
          <a:p>
            <a:pPr marL="0" lvl="1" indent="0">
              <a:spcBef>
                <a:spcPts val="0"/>
              </a:spcBef>
              <a:spcAft>
                <a:spcPts val="450"/>
              </a:spcAft>
              <a:buNone/>
            </a:pPr>
            <a:r>
              <a:rPr lang="de-CH" err="1"/>
              <a:t>Function</a:t>
            </a:r>
            <a:endParaRPr lang="de-CH"/>
          </a:p>
          <a:p>
            <a:pPr marL="0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firstname.lastname@unisg.ch</a:t>
            </a:r>
          </a:p>
          <a:p>
            <a:pPr marL="0" lvl="3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www.iwi.unisg.ch</a:t>
            </a:r>
          </a:p>
          <a:p>
            <a:pPr marL="0" lvl="4" indent="0">
              <a:spcBef>
                <a:spcPts val="0"/>
              </a:spcBef>
              <a:buNone/>
            </a:pPr>
            <a:r>
              <a:rPr lang="de-CH"/>
              <a:t>+41 71 224 </a:t>
            </a:r>
            <a:r>
              <a:rPr lang="de-CH" err="1"/>
              <a:t>xxxx</a:t>
            </a:r>
            <a:endParaRPr lang="de-CH" sz="900"/>
          </a:p>
        </p:txBody>
      </p:sp>
      <p:pic>
        <p:nvPicPr>
          <p:cNvPr id="13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075F9713-6868-46DE-BB5A-9534703D42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3809" y="3192183"/>
            <a:ext cx="1397480" cy="28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3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5963683" y="0"/>
            <a:ext cx="3180318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276350"/>
            <a:ext cx="529272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de-DE"/>
              <a:t>First ite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936974457" name="Rectangle 10" descr="{&quot;templafy&quot;:{&quot;id&quot;:&quot;983d3f15-dbac-4adc-ac60-bc024713866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F9D94E7-5503-4A78-9A9D-3BC60709B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376238"/>
            <a:ext cx="5292725" cy="609662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r>
              <a:rPr lang="en-US" noProof="0"/>
              <a:t>Agenda Title placeholder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A444DF1-FB08-4892-B960-CC1A10789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47143" y="4767262"/>
            <a:ext cx="2004356" cy="184335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B57B5CD7-A0CA-4D38-BBC7-2C00C2D8EDD2}" type="datetime6">
              <a:rPr lang="de-CH" smtClean="0"/>
              <a:t>Oktober 23</a:t>
            </a:fld>
            <a:endParaRPr lang="de-DE"/>
          </a:p>
        </p:txBody>
      </p:sp>
      <p:pic>
        <p:nvPicPr>
          <p:cNvPr id="13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BBAB33F5-93EF-4448-89CD-5EFFC7AC04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lIns="180000" t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86A8A6-B06D-46A2-BCC7-BE87EF4B4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046345E-A7CE-41CD-A50F-C13F46D299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0B763E8-28A5-4C06-8953-D607A4035193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552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9D665AE-2099-47EB-8D1F-2B3FCA7D9E11}" type="datetime6">
              <a:rPr lang="de-CH" smtClean="0"/>
              <a:t>Oktober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2556921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70FC134-CD77-4207-856E-804B9B6F6655}" type="datetime6">
              <a:rPr lang="de-CH" smtClean="0"/>
              <a:t>Oktober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53049159-3887-46EA-B4CA-459B82DE6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2" name="Inhaltsplatzhalter 16">
            <a:extLst>
              <a:ext uri="{FF2B5EF4-FFF2-40B4-BE49-F238E27FC236}">
                <a16:creationId xmlns:a16="http://schemas.microsoft.com/office/drawing/2014/main" id="{2573B565-8F94-4F75-8571-779016BEE6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5569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Placeholder for a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lvl="1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</a:pPr>
            <a:r>
              <a:rPr lang="de-DE"/>
              <a:t>Mastertextformat bearbeiten</a:t>
            </a:r>
          </a:p>
          <a:p>
            <a:pPr marL="358775" lvl="2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539750" lvl="3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Dritte Ebene</a:t>
            </a:r>
          </a:p>
          <a:p>
            <a:pPr marL="717550" lvl="4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  <a:p>
            <a:pPr lvl="4"/>
            <a:endParaRPr lang="en-US" noProof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E8F5F7-0767-41DB-A7E9-38E2EEF730E1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32CD6D27-B293-4C37-A785-BDB639DCC809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82702DE-7FC5-499E-AE60-0DC8AAD4A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78BEB732-1EAE-4447-B6B5-5E7B232FABE4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93" r:id="rId7"/>
    <p:sldLayoutId id="2147483662" r:id="rId8"/>
    <p:sldLayoutId id="2147483697" r:id="rId9"/>
    <p:sldLayoutId id="2147483664" r:id="rId10"/>
    <p:sldLayoutId id="2147483694" r:id="rId11"/>
    <p:sldLayoutId id="2147483698" r:id="rId12"/>
    <p:sldLayoutId id="2147483701" r:id="rId13"/>
    <p:sldLayoutId id="2147483702" r:id="rId14"/>
    <p:sldLayoutId id="2147483672" r:id="rId15"/>
    <p:sldLayoutId id="2147483695" r:id="rId16"/>
    <p:sldLayoutId id="2147483699" r:id="rId17"/>
    <p:sldLayoutId id="2147483673" r:id="rId18"/>
    <p:sldLayoutId id="2147483666" r:id="rId19"/>
    <p:sldLayoutId id="2147483696" r:id="rId20"/>
    <p:sldLayoutId id="2147483700" r:id="rId21"/>
    <p:sldLayoutId id="2147483680" r:id="rId22"/>
    <p:sldLayoutId id="2147483678" r:id="rId23"/>
    <p:sldLayoutId id="2147483679" r:id="rId24"/>
    <p:sldLayoutId id="2147483675" r:id="rId25"/>
    <p:sldLayoutId id="2147483683" r:id="rId26"/>
    <p:sldLayoutId id="2147483667" r:id="rId27"/>
    <p:sldLayoutId id="2147483681" r:id="rId28"/>
    <p:sldLayoutId id="2147483703" r:id="rId29"/>
    <p:sldLayoutId id="2147483705" r:id="rId30"/>
    <p:sldLayoutId id="2147483706" r:id="rId3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  <p15:guide id="11" orient="horz" pos="3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fcs-intro.streamlit.app/" TargetMode="External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github.com/hawk-li/fcs-streamlit-auto-doc-ipynb/tree/main" TargetMode="External"/><Relationship Id="rId4" Type="http://schemas.openxmlformats.org/officeDocument/2006/relationships/hyperlink" Target="https://github.com/hawk-li/fcs-streamlit-intro/blob/main/app.py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9.png"/><Relationship Id="rId5" Type="http://schemas.openxmlformats.org/officeDocument/2006/relationships/image" Target="../media/image54.png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rondose.com/2016/07/what-does-instantiation-mean/" TargetMode="External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8.png"/><Relationship Id="rId4" Type="http://schemas.openxmlformats.org/officeDocument/2006/relationships/image" Target="../media/image7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D3143055-81F2-4195-A863-909ED77C7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8132898" cy="1531505"/>
          </a:xfrm>
        </p:spPr>
        <p:txBody>
          <a:bodyPr/>
          <a:lstStyle/>
          <a:p>
            <a:r>
              <a:rPr lang="de-DE" sz="4000" err="1"/>
              <a:t>Fundamentals</a:t>
            </a:r>
            <a:r>
              <a:rPr lang="de-DE" sz="4000"/>
              <a:t> and Methods </a:t>
            </a:r>
            <a:r>
              <a:rPr lang="de-DE" sz="4000" err="1"/>
              <a:t>of</a:t>
            </a:r>
            <a:r>
              <a:rPr lang="de-DE" sz="4000"/>
              <a:t> Computer Science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C11E479-9B3A-42D2-A07C-80F9E9243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err="1"/>
              <a:t>Exercise</a:t>
            </a:r>
            <a:r>
              <a:rPr lang="de-DE"/>
              <a:t> </a:t>
            </a:r>
            <a:r>
              <a:rPr lang="de-DE" err="1"/>
              <a:t>week</a:t>
            </a:r>
            <a:r>
              <a:rPr lang="de-DE"/>
              <a:t> 5</a:t>
            </a:r>
          </a:p>
        </p:txBody>
      </p:sp>
    </p:spTree>
    <p:extLst>
      <p:ext uri="{BB962C8B-B14F-4D97-AF65-F5344CB8AC3E}">
        <p14:creationId xmlns:p14="http://schemas.microsoft.com/office/powerpoint/2010/main" val="25912792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5B15D2-9859-3B75-00FB-3D3866A35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/>
          <a:lstStyle/>
          <a:p>
            <a:r>
              <a:rPr lang="en-US"/>
              <a:t>Deliverabl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58D3EF-6EC2-F730-7383-677D9F68C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3203575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b="1" dirty="0"/>
              <a:t>5-minute </a:t>
            </a:r>
            <a:r>
              <a:rPr lang="en-US" dirty="0"/>
              <a:t>(max.) </a:t>
            </a:r>
            <a:r>
              <a:rPr lang="en-US" b="1" dirty="0"/>
              <a:t>video </a:t>
            </a:r>
            <a:r>
              <a:rPr lang="en-US" dirty="0"/>
              <a:t>on your project idea, process, contributions and result including a short demo of your application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working and well documented </a:t>
            </a:r>
            <a:r>
              <a:rPr lang="en-US" b="1" dirty="0"/>
              <a:t>source code </a:t>
            </a:r>
            <a:r>
              <a:rPr lang="en-US" dirty="0"/>
              <a:t>of your application (we need to be able to run your application).</a:t>
            </a:r>
          </a:p>
          <a:p>
            <a:pPr marL="179705" indent="-179705"/>
            <a:endParaRPr lang="en-US"/>
          </a:p>
          <a:p>
            <a:pPr marL="179705" indent="-179705"/>
            <a:r>
              <a:rPr lang="en-US" dirty="0"/>
              <a:t>Both deliverables need to be uploaded by </a:t>
            </a:r>
            <a:r>
              <a:rPr lang="en-US" b="1" dirty="0"/>
              <a:t>Thursday, 14.12.2023, 23:59 </a:t>
            </a:r>
            <a:r>
              <a:rPr lang="en-US" dirty="0"/>
              <a:t>to Canvas.</a:t>
            </a:r>
          </a:p>
          <a:p>
            <a:pPr marL="179705" indent="-179705"/>
            <a:endParaRPr lang="en-US"/>
          </a:p>
          <a:p>
            <a:pPr marL="222250" lvl="1" indent="-180975"/>
            <a:r>
              <a:rPr lang="en-US" dirty="0"/>
              <a:t>Each group will show their video in their exercise group on Friday, 15.12.2023 and will have a 5-minute Q&amp;A session afterwards (</a:t>
            </a:r>
            <a:r>
              <a:rPr lang="en-US" i="1" dirty="0"/>
              <a:t>mandatory</a:t>
            </a:r>
            <a:r>
              <a:rPr lang="en-US" dirty="0"/>
              <a:t>).</a:t>
            </a:r>
          </a:p>
          <a:p>
            <a:pPr marL="222250" lvl="1" indent="-180975"/>
            <a:r>
              <a:rPr lang="en-US" dirty="0"/>
              <a:t>The selected top-3 groups will present their solution in the lecture session on Wednesday, 20.12.2023 (</a:t>
            </a:r>
            <a:r>
              <a:rPr lang="en-US" i="1" dirty="0"/>
              <a:t>mandatory</a:t>
            </a:r>
            <a:r>
              <a:rPr lang="en-US" dirty="0"/>
              <a:t>).</a:t>
            </a:r>
          </a:p>
          <a:p>
            <a:pPr marL="222250" lvl="1" indent="-180975"/>
            <a:endParaRPr lang="en-US"/>
          </a:p>
          <a:p>
            <a:pPr marL="41275" lvl="1" indent="0">
              <a:buNone/>
            </a:pPr>
            <a:r>
              <a:rPr lang="en-US" b="1" i="1" dirty="0">
                <a:solidFill>
                  <a:srgbClr val="0A5F2D"/>
                </a:solidFill>
              </a:rPr>
              <a:t>Be careful to reference everything, that is not yours (e.g., other people’s contributions, source code, etc.). See exercise session for details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015ED8-A435-C16A-145F-3225CB29F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5FD503B-6A69-CF2A-AEFC-6B9C806783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85788"/>
            <a:ext cx="8425656" cy="290450"/>
          </a:xfrm>
        </p:spPr>
        <p:txBody>
          <a:bodyPr>
            <a:normAutofit/>
          </a:bodyPr>
          <a:lstStyle/>
          <a:p>
            <a:r>
              <a:rPr lang="en-US"/>
              <a:t>Details</a:t>
            </a:r>
          </a:p>
        </p:txBody>
      </p:sp>
    </p:spTree>
    <p:extLst>
      <p:ext uri="{BB962C8B-B14F-4D97-AF65-F5344CB8AC3E}">
        <p14:creationId xmlns:p14="http://schemas.microsoft.com/office/powerpoint/2010/main" val="2805079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5B15D2-9859-3B75-00FB-3D3866A35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/>
          <a:lstStyle/>
          <a:p>
            <a:r>
              <a:rPr lang="en-US"/>
              <a:t>What is graded?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58D3EF-6EC2-F730-7383-677D9F68C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3203575"/>
          </a:xfrm>
        </p:spPr>
        <p:txBody>
          <a:bodyPr>
            <a:normAutofit lnSpcReduction="10000"/>
          </a:bodyPr>
          <a:lstStyle/>
          <a:p>
            <a:r>
              <a:rPr lang="en-US" b="1"/>
              <a:t>* Requirements relevant for evaluation/grading (mandatory)</a:t>
            </a:r>
          </a:p>
          <a:p>
            <a:pPr lvl="1"/>
            <a:r>
              <a:rPr lang="en-US"/>
              <a:t>A problem that is solved by the application is clearly stated (e.g., business or consumer use case)</a:t>
            </a:r>
          </a:p>
          <a:p>
            <a:pPr lvl="1"/>
            <a:r>
              <a:rPr lang="en-US"/>
              <a:t>The application uses some data that is loaded via some API and/or provided via some database</a:t>
            </a:r>
          </a:p>
          <a:p>
            <a:pPr lvl="1"/>
            <a:r>
              <a:rPr lang="en-US"/>
              <a:t>The application visualizes some data that serves the use case</a:t>
            </a:r>
          </a:p>
          <a:p>
            <a:pPr lvl="1"/>
            <a:r>
              <a:rPr lang="en-US"/>
              <a:t>The application allows for some user interaction, e.g., adding additional data, selecting certain data, running certain data analyses</a:t>
            </a:r>
          </a:p>
          <a:p>
            <a:pPr lvl="1"/>
            <a:r>
              <a:rPr lang="en-US"/>
              <a:t>The source code is well documented by comments in the source code</a:t>
            </a:r>
          </a:p>
          <a:p>
            <a:pPr lvl="1"/>
            <a:r>
              <a:rPr lang="en-US"/>
              <a:t>The contributions of each team member are documented (e.g., contribution matrix).</a:t>
            </a:r>
          </a:p>
          <a:p>
            <a:pPr lvl="1"/>
            <a:r>
              <a:rPr lang="en-US"/>
              <a:t>The result is presented and demoed in a 5-minute video</a:t>
            </a:r>
          </a:p>
          <a:p>
            <a:endParaRPr lang="en-US"/>
          </a:p>
          <a:p>
            <a:r>
              <a:rPr lang="en-US" b="1"/>
              <a:t>Extensions not relevant for evaluation but for the “beauty” of the result (optional)</a:t>
            </a:r>
          </a:p>
          <a:p>
            <a:pPr lvl="1"/>
            <a:r>
              <a:rPr lang="en-US"/>
              <a:t>The application implements some machine learning</a:t>
            </a:r>
          </a:p>
          <a:p>
            <a:pPr lvl="1"/>
            <a:r>
              <a:rPr lang="en-US"/>
              <a:t>The application is made publicly available to users, e.g., via the </a:t>
            </a:r>
            <a:r>
              <a:rPr lang="en-US" err="1"/>
              <a:t>streamlit</a:t>
            </a:r>
            <a:r>
              <a:rPr lang="en-US"/>
              <a:t> platform</a:t>
            </a:r>
          </a:p>
          <a:p>
            <a:pPr lvl="1"/>
            <a:r>
              <a:rPr lang="en-US"/>
              <a:t>… anything you ever wanted to impleme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015ED8-A435-C16A-145F-3225CB29F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5FD503B-6A69-CF2A-AEFC-6B9C806783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85788"/>
            <a:ext cx="8425656" cy="290450"/>
          </a:xfrm>
        </p:spPr>
        <p:txBody>
          <a:bodyPr>
            <a:normAutofit/>
          </a:bodyPr>
          <a:lstStyle/>
          <a:p>
            <a:r>
              <a:rPr lang="en-US"/>
              <a:t>Details</a:t>
            </a:r>
          </a:p>
        </p:txBody>
      </p:sp>
    </p:spTree>
    <p:extLst>
      <p:ext uri="{BB962C8B-B14F-4D97-AF65-F5344CB8AC3E}">
        <p14:creationId xmlns:p14="http://schemas.microsoft.com/office/powerpoint/2010/main" val="37065345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1851AB-ECB2-F17C-3E4D-1E303F9D53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lestones / When is attendance </a:t>
            </a:r>
            <a:r>
              <a:rPr lang="en-US">
                <a:solidFill>
                  <a:srgbClr val="FF0000"/>
                </a:solidFill>
              </a:rPr>
              <a:t>mandatory*</a:t>
            </a:r>
            <a:r>
              <a:rPr lang="en-US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CDBB7D-2923-FC10-F22A-969AB91FC5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164629"/>
            <a:ext cx="8426450" cy="2556921"/>
          </a:xfrm>
        </p:spPr>
        <p:txBody>
          <a:bodyPr>
            <a:normAutofit/>
          </a:bodyPr>
          <a:lstStyle/>
          <a:p>
            <a:pPr marL="0" lvl="1" indent="0" fontAlgn="base">
              <a:buNone/>
            </a:pPr>
            <a:r>
              <a:rPr lang="en-US" b="1">
                <a:solidFill>
                  <a:srgbClr val="FF0000"/>
                </a:solidFill>
                <a:latin typeface="Gill Sans Nova" panose="020B0602020104020203" pitchFamily="34" charset="0"/>
              </a:rPr>
              <a:t>Week 06 - exercise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: Group definition / assignment, Q&amp;A for project</a:t>
            </a:r>
          </a:p>
          <a:p>
            <a:pPr marL="0" lvl="1" indent="0" fontAlgn="base">
              <a:buNone/>
            </a:pP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</a:rPr>
              <a:t>BREAK</a:t>
            </a:r>
          </a:p>
          <a:p>
            <a:pPr marL="0" lvl="1" indent="0" fontAlgn="base">
              <a:buNone/>
            </a:pPr>
            <a:endParaRPr lang="en-US" b="1">
              <a:solidFill>
                <a:srgbClr val="000000"/>
              </a:solidFill>
              <a:latin typeface="Gill Sans Nova" panose="020B0602020104020203" pitchFamily="34" charset="0"/>
            </a:endParaRPr>
          </a:p>
          <a:p>
            <a:pPr marL="0" lvl="1" indent="0" fontAlgn="base">
              <a:buNone/>
            </a:pPr>
            <a:r>
              <a:rPr lang="en-US" b="1">
                <a:solidFill>
                  <a:srgbClr val="FF0000"/>
                </a:solidFill>
                <a:latin typeface="Gill Sans Nova" panose="020B0602020104020203" pitchFamily="34" charset="0"/>
              </a:rPr>
              <a:t>Week 07 - exercise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: Presentation of project idea / approach 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 Feedback (max. 10 minutes/group)** </a:t>
            </a: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(You)</a:t>
            </a:r>
            <a:endParaRPr lang="en-US" b="1">
              <a:solidFill>
                <a:srgbClr val="000000"/>
              </a:solidFill>
              <a:latin typeface="Gill Sans Nova" panose="020B0602020104020203" pitchFamily="34" charset="0"/>
            </a:endParaRPr>
          </a:p>
          <a:p>
            <a:pPr marL="0" lvl="1" indent="0" fontAlgn="base">
              <a:buNone/>
            </a:pP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</a:rPr>
              <a:t>Week 08</a:t>
            </a:r>
          </a:p>
          <a:p>
            <a:pPr marL="0" lvl="1" indent="0" fontAlgn="base">
              <a:buNone/>
            </a:pPr>
            <a:r>
              <a:rPr lang="en-US" b="1">
                <a:solidFill>
                  <a:srgbClr val="FF0000"/>
                </a:solidFill>
                <a:latin typeface="Gill Sans Nova" panose="020B0602020104020203" pitchFamily="34" charset="0"/>
              </a:rPr>
              <a:t>Week 09 - exercise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: Presentation of MVP (first version of results) 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 Feedback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 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(max. 10 minutes/group)** </a:t>
            </a: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(You)</a:t>
            </a:r>
            <a:endParaRPr lang="en-US">
              <a:solidFill>
                <a:srgbClr val="000000"/>
              </a:solidFill>
              <a:latin typeface="Gill Sans Nova" panose="020B0602020104020203" pitchFamily="34" charset="0"/>
            </a:endParaRPr>
          </a:p>
          <a:p>
            <a:pPr marL="0" lvl="1" indent="0" fontAlgn="base">
              <a:buNone/>
            </a:pP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</a:rPr>
              <a:t>Week 10</a:t>
            </a:r>
          </a:p>
          <a:p>
            <a:pPr marL="0" lvl="1" indent="0" fontAlgn="base">
              <a:buNone/>
            </a:pPr>
            <a:r>
              <a:rPr lang="en-US" b="1">
                <a:solidFill>
                  <a:srgbClr val="FF0000"/>
                </a:solidFill>
                <a:latin typeface="Gill Sans Nova" panose="020B0602020104020203" pitchFamily="34" charset="0"/>
              </a:rPr>
              <a:t>Week 11 - exercise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: Upload of solution (</a:t>
            </a:r>
            <a:r>
              <a:rPr lang="en-US" b="1">
                <a:solidFill>
                  <a:srgbClr val="FF0000"/>
                </a:solidFill>
                <a:latin typeface="Gill Sans Nova" panose="020B0602020104020203" pitchFamily="34" charset="0"/>
              </a:rPr>
              <a:t>14.12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), Presentation of Video, 5 minutes Q&amp;A session/group </a:t>
            </a: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(You)</a:t>
            </a:r>
            <a:endParaRPr lang="en-US">
              <a:solidFill>
                <a:srgbClr val="000000"/>
              </a:solidFill>
              <a:latin typeface="Gill Sans Nova" panose="020B0602020104020203" pitchFamily="34" charset="0"/>
            </a:endParaRPr>
          </a:p>
          <a:p>
            <a:pPr marL="0" lvl="1" indent="0" fontAlgn="base">
              <a:buNone/>
            </a:pPr>
            <a:r>
              <a:rPr lang="en-US" b="1">
                <a:solidFill>
                  <a:srgbClr val="FF0000"/>
                </a:solidFill>
                <a:latin typeface="Gill Sans Nova" panose="020B0602020104020203" pitchFamily="34" charset="0"/>
              </a:rPr>
              <a:t>Week 12 - lecture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: Presentation of Top-3 groups </a:t>
            </a: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(You)</a:t>
            </a:r>
            <a:endParaRPr lang="en-US">
              <a:solidFill>
                <a:schemeClr val="accent3"/>
              </a:solidFill>
              <a:latin typeface="Gill Sans Nova" panose="020B06020201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4A678B-DACF-D55A-C2DE-26C1DBE6C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487C1B-BCA9-113A-4A50-197FBA071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Group Projec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5D629D8-4129-A3EF-50F3-130621B388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en-US" b="1"/>
              <a:t>*) You should attend the exercise session. If you can’t make it, you have to discuss this with</a:t>
            </a:r>
          </a:p>
          <a:p>
            <a:r>
              <a:rPr lang="en-US" b="1"/>
              <a:t>    your group and your exercise session tutor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677D32C-1D1D-CD12-415D-A3F29F1F812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15A110B-9875-2ACF-A025-03CEE352D5F5}"/>
              </a:ext>
            </a:extLst>
          </p:cNvPr>
          <p:cNvSpPr txBox="1"/>
          <p:nvPr/>
        </p:nvSpPr>
        <p:spPr>
          <a:xfrm>
            <a:off x="1572740" y="4640997"/>
            <a:ext cx="6242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220663" algn="l"/>
              </a:tabLst>
            </a:pPr>
            <a:r>
              <a:rPr lang="en-US" sz="1000"/>
              <a:t>**) 	The 10-minute slot is for presentation </a:t>
            </a:r>
            <a:r>
              <a:rPr lang="en-US" sz="1000" b="1"/>
              <a:t>and</a:t>
            </a:r>
            <a:r>
              <a:rPr lang="en-US" sz="1000"/>
              <a:t> feedback. This is not a lot of time, you decide on how much you 	will present, i.e., how much time there will be for feedback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B56918-0AC5-7319-1F7B-190899D2FD4A}"/>
              </a:ext>
            </a:extLst>
          </p:cNvPr>
          <p:cNvSpPr txBox="1"/>
          <p:nvPr/>
        </p:nvSpPr>
        <p:spPr>
          <a:xfrm>
            <a:off x="5900782" y="915447"/>
            <a:ext cx="2993836" cy="715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en-US"/>
              <a:t>Self assignment is possible from Friday, </a:t>
            </a:r>
            <a:r>
              <a:rPr lang="en-US" b="1"/>
              <a:t>20.10.2023, 12:00 </a:t>
            </a:r>
            <a:r>
              <a:rPr lang="en-US"/>
              <a:t>noon till Thursday, </a:t>
            </a:r>
            <a:r>
              <a:rPr lang="en-US" b="1"/>
              <a:t>26.10.2023, 23.59 </a:t>
            </a:r>
            <a:r>
              <a:rPr lang="en-US"/>
              <a:t>midnight.</a:t>
            </a:r>
          </a:p>
        </p:txBody>
      </p:sp>
    </p:spTree>
    <p:extLst>
      <p:ext uri="{BB962C8B-B14F-4D97-AF65-F5344CB8AC3E}">
        <p14:creationId xmlns:p14="http://schemas.microsoft.com/office/powerpoint/2010/main" val="10267667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780D6-4A94-3BE7-4D70-07508E33B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Plagiarism</a:t>
            </a:r>
            <a:r>
              <a:rPr lang="de-CH"/>
              <a:t> in Coding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D00AF6-0D6A-AA6E-D3E8-9101E8447F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308" y="1114425"/>
            <a:ext cx="3833352" cy="3571875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GB" b="1" u="sng"/>
              <a:t>Docs, Google, Stack Overflow, …:</a:t>
            </a:r>
          </a:p>
          <a:p>
            <a:pPr marL="0" indent="0"/>
            <a:r>
              <a:rPr lang="en-GB"/>
              <a:t>Using resources to learn about a specific function </a:t>
            </a:r>
          </a:p>
          <a:p>
            <a:pPr marL="179388" indent="0"/>
            <a:r>
              <a:rPr lang="en-GB">
                <a:sym typeface="Wingdings" panose="05000000000000000000" pitchFamily="2" charset="2"/>
              </a:rPr>
              <a:t> No citation needed</a:t>
            </a:r>
            <a:endParaRPr lang="en-GB"/>
          </a:p>
          <a:p>
            <a:pPr marL="0" indent="0"/>
            <a:r>
              <a:rPr lang="en-GB"/>
              <a:t>Using small snippets to solve a specific</a:t>
            </a:r>
          </a:p>
          <a:p>
            <a:pPr marL="0" indent="0"/>
            <a:r>
              <a:rPr lang="en-GB"/>
              <a:t>problem or learn a method</a:t>
            </a:r>
          </a:p>
          <a:p>
            <a:pPr marL="179388" indent="0"/>
            <a:r>
              <a:rPr lang="en-GB">
                <a:sym typeface="Wingdings" panose="05000000000000000000" pitchFamily="2" charset="2"/>
              </a:rPr>
              <a:t> No citation needed</a:t>
            </a:r>
            <a:endParaRPr lang="en-GB"/>
          </a:p>
          <a:p>
            <a:pPr marL="0" indent="0"/>
            <a:r>
              <a:rPr lang="en-GB"/>
              <a:t>Using large snippets to solve a specific task</a:t>
            </a:r>
          </a:p>
          <a:p>
            <a:pPr marL="465138" indent="-285750">
              <a:buFont typeface="Wingdings" panose="05000000000000000000" pitchFamily="2" charset="2"/>
              <a:buChar char="à"/>
            </a:pPr>
            <a:r>
              <a:rPr lang="en-GB">
                <a:sym typeface="Wingdings" panose="05000000000000000000" pitchFamily="2" charset="2"/>
              </a:rPr>
              <a:t>Cite source</a:t>
            </a:r>
          </a:p>
          <a:p>
            <a:pPr marL="179388" indent="0"/>
            <a:endParaRPr lang="en-GB"/>
          </a:p>
          <a:p>
            <a:pPr marL="0" indent="0"/>
            <a:r>
              <a:rPr lang="en-GB" b="1" u="sng"/>
              <a:t>Friends, Tutors, Fiverr, …:</a:t>
            </a:r>
            <a:endParaRPr lang="en-GB" b="1" u="sng">
              <a:solidFill>
                <a:srgbClr val="FF0000"/>
              </a:solidFill>
            </a:endParaRPr>
          </a:p>
          <a:p>
            <a:pPr marL="0" indent="0"/>
            <a:r>
              <a:rPr lang="en-GB"/>
              <a:t>Asking questions </a:t>
            </a:r>
            <a:r>
              <a:rPr lang="en-GB">
                <a:sym typeface="Wingdings" panose="05000000000000000000" pitchFamily="2" charset="2"/>
              </a:rPr>
              <a:t> no citation needed </a:t>
            </a:r>
            <a:r>
              <a:rPr lang="en-GB" b="1">
                <a:solidFill>
                  <a:srgbClr val="FF0000"/>
                </a:solidFill>
              </a:rPr>
              <a:t>*</a:t>
            </a:r>
            <a:endParaRPr lang="en-GB">
              <a:sym typeface="Wingdings" panose="05000000000000000000" pitchFamily="2" charset="2"/>
            </a:endParaRPr>
          </a:p>
          <a:p>
            <a:pPr marL="0" indent="0"/>
            <a:endParaRPr lang="en-GB" b="1" u="sng"/>
          </a:p>
          <a:p>
            <a:pPr marL="0" indent="0"/>
            <a:r>
              <a:rPr lang="en-GB" b="1" u="sng"/>
              <a:t>ChatGPT, …:</a:t>
            </a:r>
          </a:p>
          <a:p>
            <a:pPr marL="0" indent="0"/>
            <a:r>
              <a:rPr lang="en-GB"/>
              <a:t>Asking questions </a:t>
            </a:r>
            <a:r>
              <a:rPr lang="en-GB">
                <a:sym typeface="Wingdings" panose="05000000000000000000" pitchFamily="2" charset="2"/>
              </a:rPr>
              <a:t> no citation needed </a:t>
            </a:r>
            <a:r>
              <a:rPr lang="en-GB" b="1">
                <a:solidFill>
                  <a:srgbClr val="FF0000"/>
                </a:solidFill>
              </a:rPr>
              <a:t>*</a:t>
            </a:r>
            <a:endParaRPr lang="en-GB" b="1" u="sng"/>
          </a:p>
          <a:p>
            <a:pPr marL="0" indent="0"/>
            <a:r>
              <a:rPr lang="en-GB">
                <a:sym typeface="Wingdings" panose="05000000000000000000" pitchFamily="2" charset="2"/>
              </a:rPr>
              <a:t>Writing code for you  Cite source </a:t>
            </a:r>
            <a:r>
              <a:rPr lang="en-GB" b="1">
                <a:solidFill>
                  <a:srgbClr val="FF0000"/>
                </a:solidFill>
              </a:rPr>
              <a:t>*</a:t>
            </a:r>
            <a:endParaRPr lang="en-GB" b="1" u="sng">
              <a:solidFill>
                <a:srgbClr val="FF0000"/>
              </a:solidFill>
            </a:endParaRPr>
          </a:p>
        </p:txBody>
      </p:sp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A6AC83D8-CA8A-400F-A0D9-127D600AA19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751982" y="1869772"/>
            <a:ext cx="3052434" cy="339810"/>
          </a:xfrm>
          <a:ln>
            <a:noFill/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374962-F2A0-CAD3-9738-05F51009F0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87C0F6D-3113-331F-E9CB-F3C138536B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/>
              <a:t>Group Project</a:t>
            </a:r>
            <a:endParaRPr lang="en-GB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4DF741A3-F41C-557C-B7CF-90E0E74F1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775" y="989254"/>
            <a:ext cx="1438987" cy="215444"/>
          </a:xfrm>
        </p:spPr>
        <p:txBody>
          <a:bodyPr/>
          <a:lstStyle/>
          <a:p>
            <a:r>
              <a:rPr lang="de-CH" err="1"/>
              <a:t>Acceptable</a:t>
            </a:r>
            <a:endParaRPr lang="en-GB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3BB6E98-B0B9-343D-A050-3FEBBDDB6D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12833" y="1003004"/>
            <a:ext cx="1438987" cy="222841"/>
          </a:xfrm>
        </p:spPr>
        <p:txBody>
          <a:bodyPr/>
          <a:lstStyle/>
          <a:p>
            <a:r>
              <a:rPr lang="de-CH" err="1"/>
              <a:t>Examples</a:t>
            </a:r>
            <a:endParaRPr lang="en-GB"/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8B40D517-2B27-E3CD-A044-A64A15D05BED}"/>
              </a:ext>
            </a:extLst>
          </p:cNvPr>
          <p:cNvSpPr/>
          <p:nvPr/>
        </p:nvSpPr>
        <p:spPr>
          <a:xfrm>
            <a:off x="3873954" y="132974"/>
            <a:ext cx="5159829" cy="486527"/>
          </a:xfrm>
          <a:prstGeom prst="wedgeRectCallout">
            <a:avLst>
              <a:gd name="adj1" fmla="val -21629"/>
              <a:gd name="adj2" fmla="val 116198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/>
              <a:t>Copying or adapting someone else’s work (incl. </a:t>
            </a:r>
            <a:r>
              <a:rPr lang="en-GB" b="1" u="sng"/>
              <a:t>code</a:t>
            </a:r>
            <a:r>
              <a:rPr lang="en-GB"/>
              <a:t>) with proper attribution and not presenting it as one's own original work.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79EBA821-BA07-20FF-41BF-F2EA4B91FC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0782" y="1875708"/>
            <a:ext cx="1052336" cy="57438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16BFD73D-B884-AAB9-6373-608F43634A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2834" y="1553375"/>
            <a:ext cx="4258012" cy="269960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69EA6C26-B92C-17EB-B9D0-47FF294E3AAF}"/>
              </a:ext>
            </a:extLst>
          </p:cNvPr>
          <p:cNvSpPr/>
          <p:nvPr/>
        </p:nvSpPr>
        <p:spPr>
          <a:xfrm>
            <a:off x="3649254" y="1907761"/>
            <a:ext cx="1356601" cy="9862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 err="1">
                <a:solidFill>
                  <a:schemeClr val="tx1"/>
                </a:solidFill>
              </a:rPr>
              <a:t>Careful</a:t>
            </a:r>
            <a:r>
              <a:rPr lang="de-CH" b="1">
                <a:solidFill>
                  <a:schemeClr val="tx1"/>
                </a:solidFill>
              </a:rPr>
              <a:t> </a:t>
            </a:r>
            <a:r>
              <a:rPr lang="de-CH" b="1" err="1">
                <a:solidFill>
                  <a:schemeClr val="tx1"/>
                </a:solidFill>
              </a:rPr>
              <a:t>here</a:t>
            </a:r>
            <a:r>
              <a:rPr lang="de-CH" b="1">
                <a:solidFill>
                  <a:schemeClr val="tx1"/>
                </a:solidFill>
              </a:rPr>
              <a:t>!</a:t>
            </a:r>
            <a:endParaRPr lang="en-GB" b="1">
              <a:solidFill>
                <a:schemeClr val="tx1"/>
              </a:solidFill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84BBD87-5455-5DB1-1F94-8F7D3CA4F1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31578" y="2534986"/>
            <a:ext cx="1811540" cy="112440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FA2C8174-AF24-5E24-B8FF-C243F9CAD1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51982" y="2534986"/>
            <a:ext cx="2356730" cy="22222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9CF9770-F855-4D82-2C11-C92A7EDD2DA7}"/>
              </a:ext>
            </a:extLst>
          </p:cNvPr>
          <p:cNvSpPr txBox="1"/>
          <p:nvPr/>
        </p:nvSpPr>
        <p:spPr>
          <a:xfrm>
            <a:off x="4712833" y="3210354"/>
            <a:ext cx="22288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/>
              <a:t>«Do you know </a:t>
            </a:r>
            <a:r>
              <a:rPr lang="de-CH" err="1"/>
              <a:t>how</a:t>
            </a:r>
            <a:r>
              <a:rPr lang="de-CH"/>
              <a:t> I </a:t>
            </a:r>
            <a:r>
              <a:rPr lang="de-CH" err="1"/>
              <a:t>can</a:t>
            </a:r>
            <a:r>
              <a:rPr lang="de-CH"/>
              <a:t> check </a:t>
            </a:r>
            <a:r>
              <a:rPr lang="de-CH" err="1"/>
              <a:t>if</a:t>
            </a:r>
            <a:r>
              <a:rPr lang="de-CH"/>
              <a:t> a </a:t>
            </a:r>
            <a:r>
              <a:rPr lang="de-CH" err="1"/>
              <a:t>number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prime?»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0275FF-4F5F-6E0B-939A-1DE208877C28}"/>
              </a:ext>
            </a:extLst>
          </p:cNvPr>
          <p:cNvSpPr txBox="1"/>
          <p:nvPr/>
        </p:nvSpPr>
        <p:spPr>
          <a:xfrm>
            <a:off x="4712833" y="3984794"/>
            <a:ext cx="391681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/>
              <a:t>«</a:t>
            </a:r>
            <a:r>
              <a:rPr lang="de-CH" err="1"/>
              <a:t>How</a:t>
            </a:r>
            <a:r>
              <a:rPr lang="de-CH"/>
              <a:t> </a:t>
            </a:r>
            <a:r>
              <a:rPr lang="de-CH" err="1"/>
              <a:t>can</a:t>
            </a:r>
            <a:r>
              <a:rPr lang="de-CH"/>
              <a:t> I check </a:t>
            </a:r>
            <a:r>
              <a:rPr lang="de-CH" err="1"/>
              <a:t>if</a:t>
            </a:r>
            <a:r>
              <a:rPr lang="de-CH"/>
              <a:t> a </a:t>
            </a:r>
            <a:r>
              <a:rPr lang="de-CH" err="1"/>
              <a:t>number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prime?»</a:t>
            </a:r>
          </a:p>
          <a:p>
            <a:r>
              <a:rPr lang="de-CH"/>
              <a:t>«Write Python code to check </a:t>
            </a:r>
            <a:r>
              <a:rPr lang="de-CH" err="1"/>
              <a:t>if</a:t>
            </a:r>
            <a:r>
              <a:rPr lang="de-CH"/>
              <a:t> a </a:t>
            </a:r>
            <a:r>
              <a:rPr lang="de-CH" err="1"/>
              <a:t>number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prime»</a:t>
            </a:r>
            <a:endParaRPr lang="en-GB"/>
          </a:p>
        </p:txBody>
      </p:sp>
      <p:pic>
        <p:nvPicPr>
          <p:cNvPr id="8" name="Graphic 7" descr="Checkmark with solid fill">
            <a:extLst>
              <a:ext uri="{FF2B5EF4-FFF2-40B4-BE49-F238E27FC236}">
                <a16:creationId xmlns:a16="http://schemas.microsoft.com/office/drawing/2014/main" id="{00499EE0-4A30-CDA8-14B8-CCB57BA8CB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60526" y="1462041"/>
            <a:ext cx="505090" cy="505090"/>
          </a:xfrm>
          <a:prstGeom prst="rect">
            <a:avLst/>
          </a:prstGeom>
        </p:spPr>
      </p:pic>
      <p:pic>
        <p:nvPicPr>
          <p:cNvPr id="9" name="Graphic 8" descr="Checkmark with solid fill">
            <a:extLst>
              <a:ext uri="{FF2B5EF4-FFF2-40B4-BE49-F238E27FC236}">
                <a16:creationId xmlns:a16="http://schemas.microsoft.com/office/drawing/2014/main" id="{8F2A88BA-8FFB-A321-741A-14DDBDF544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64561" y="1811815"/>
            <a:ext cx="505090" cy="505090"/>
          </a:xfrm>
          <a:prstGeom prst="rect">
            <a:avLst/>
          </a:prstGeom>
        </p:spPr>
      </p:pic>
      <p:pic>
        <p:nvPicPr>
          <p:cNvPr id="10" name="Graphic 9" descr="Checkmark with solid fill">
            <a:extLst>
              <a:ext uri="{FF2B5EF4-FFF2-40B4-BE49-F238E27FC236}">
                <a16:creationId xmlns:a16="http://schemas.microsoft.com/office/drawing/2014/main" id="{FD43A1AF-55E7-7F7D-8917-5B07BC3BF9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60526" y="3213095"/>
            <a:ext cx="505090" cy="505090"/>
          </a:xfrm>
          <a:prstGeom prst="rect">
            <a:avLst/>
          </a:prstGeom>
        </p:spPr>
      </p:pic>
      <p:pic>
        <p:nvPicPr>
          <p:cNvPr id="12" name="Graphic 11" descr="Closed quotation mark with solid fill">
            <a:extLst>
              <a:ext uri="{FF2B5EF4-FFF2-40B4-BE49-F238E27FC236}">
                <a16:creationId xmlns:a16="http://schemas.microsoft.com/office/drawing/2014/main" id="{CF201B52-9DCF-6D8C-D066-5C2C92C11BF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6340" y="2417790"/>
            <a:ext cx="720000" cy="720000"/>
          </a:xfrm>
          <a:prstGeom prst="rect">
            <a:avLst/>
          </a:prstGeom>
        </p:spPr>
      </p:pic>
      <p:pic>
        <p:nvPicPr>
          <p:cNvPr id="13" name="Graphic 12" descr="Closed quotation mark with solid fill">
            <a:extLst>
              <a:ext uri="{FF2B5EF4-FFF2-40B4-BE49-F238E27FC236}">
                <a16:creationId xmlns:a16="http://schemas.microsoft.com/office/drawing/2014/main" id="{11B44C0C-5B0B-CC96-A741-127641EF6F9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31982" y="4097821"/>
            <a:ext cx="720000" cy="720000"/>
          </a:xfrm>
          <a:prstGeom prst="rect">
            <a:avLst/>
          </a:prstGeom>
        </p:spPr>
      </p:pic>
      <p:pic>
        <p:nvPicPr>
          <p:cNvPr id="14" name="Graphic 13" descr="Checkmark with solid fill">
            <a:extLst>
              <a:ext uri="{FF2B5EF4-FFF2-40B4-BE49-F238E27FC236}">
                <a16:creationId xmlns:a16="http://schemas.microsoft.com/office/drawing/2014/main" id="{82F6397F-EDBC-8289-2AE0-6374D38357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60526" y="3867165"/>
            <a:ext cx="505090" cy="505090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C6C000B-DAD0-B1D9-3F0F-7F8633934769}"/>
              </a:ext>
            </a:extLst>
          </p:cNvPr>
          <p:cNvCxnSpPr>
            <a:cxnSpLocks/>
          </p:cNvCxnSpPr>
          <p:nvPr/>
        </p:nvCxnSpPr>
        <p:spPr>
          <a:xfrm>
            <a:off x="3681549" y="1943033"/>
            <a:ext cx="0" cy="1014124"/>
          </a:xfrm>
          <a:prstGeom prst="straightConnector1">
            <a:avLst/>
          </a:prstGeom>
          <a:ln w="2857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3635D9A-9078-76A6-F248-923ED65D77D6}"/>
              </a:ext>
            </a:extLst>
          </p:cNvPr>
          <p:cNvSpPr txBox="1"/>
          <p:nvPr/>
        </p:nvSpPr>
        <p:spPr>
          <a:xfrm>
            <a:off x="2108005" y="4831938"/>
            <a:ext cx="185149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>
                <a:solidFill>
                  <a:srgbClr val="FF0000"/>
                </a:solidFill>
              </a:rPr>
              <a:t>*</a:t>
            </a:r>
            <a:r>
              <a:rPr lang="de-CH"/>
              <a:t>) </a:t>
            </a:r>
            <a:r>
              <a:rPr lang="de-CH" err="1"/>
              <a:t>see</a:t>
            </a:r>
            <a:r>
              <a:rPr lang="de-CH"/>
              <a:t> </a:t>
            </a:r>
            <a:r>
              <a:rPr lang="de-CH" err="1"/>
              <a:t>next</a:t>
            </a:r>
            <a:r>
              <a:rPr lang="de-CH"/>
              <a:t> </a:t>
            </a:r>
            <a:r>
              <a:rPr lang="de-CH" err="1"/>
              <a:t>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4753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780D6-4A94-3BE7-4D70-07508E33B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Plagiarism</a:t>
            </a:r>
            <a:r>
              <a:rPr lang="de-CH"/>
              <a:t> in Coding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D00AF6-0D6A-AA6E-D3E8-9101E8447F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308" y="1114425"/>
            <a:ext cx="3833352" cy="3571875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GB" b="1" u="sng"/>
              <a:t>Docs, Google, Stack Overflow, …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Using large snippets to solve a specific task </a:t>
            </a:r>
            <a:r>
              <a:rPr lang="en-GB">
                <a:sym typeface="Wingdings" panose="05000000000000000000" pitchFamily="2" charset="2"/>
              </a:rPr>
              <a:t>without ci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Using large code snippets / whole programs </a:t>
            </a:r>
            <a:r>
              <a:rPr lang="en-GB">
                <a:sym typeface="Wingdings" panose="05000000000000000000" pitchFamily="2" charset="2"/>
              </a:rPr>
              <a:t>without permission &amp; citation</a:t>
            </a:r>
          </a:p>
          <a:p>
            <a:pPr marL="179388" indent="0"/>
            <a:endParaRPr lang="en-GB"/>
          </a:p>
          <a:p>
            <a:pPr marL="0" indent="0"/>
            <a:r>
              <a:rPr lang="en-GB" b="1" u="sng"/>
              <a:t>Friends, Tutors, Fiverr, …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Writing code for you</a:t>
            </a:r>
            <a:endParaRPr lang="en-GB">
              <a:sym typeface="Wingdings" panose="05000000000000000000" pitchFamily="2" charset="2"/>
            </a:endParaRPr>
          </a:p>
          <a:p>
            <a:pPr marL="0" indent="0"/>
            <a:endParaRPr lang="en-GB" b="1" u="sng"/>
          </a:p>
          <a:p>
            <a:pPr marL="0" indent="0"/>
            <a:r>
              <a:rPr lang="en-GB" b="1" u="sng"/>
              <a:t>ChatGPT, …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ym typeface="Wingdings" panose="05000000000000000000" pitchFamily="2" charset="2"/>
              </a:rPr>
              <a:t>Writing code for you without citation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374962-F2A0-CAD3-9738-05F51009F0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87C0F6D-3113-331F-E9CB-F3C138536B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/>
              <a:t>Group Project</a:t>
            </a:r>
            <a:endParaRPr lang="en-GB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4DF741A3-F41C-557C-B7CF-90E0E74F1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775" y="989254"/>
            <a:ext cx="1438987" cy="215444"/>
          </a:xfrm>
        </p:spPr>
        <p:txBody>
          <a:bodyPr/>
          <a:lstStyle/>
          <a:p>
            <a:r>
              <a:rPr lang="de-CH" err="1"/>
              <a:t>Unacceptable</a:t>
            </a:r>
            <a:endParaRPr lang="en-GB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3BB6E98-B0B9-343D-A050-3FEBBDDB6D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12833" y="1003004"/>
            <a:ext cx="1438987" cy="222841"/>
          </a:xfrm>
        </p:spPr>
        <p:txBody>
          <a:bodyPr/>
          <a:lstStyle/>
          <a:p>
            <a:r>
              <a:rPr lang="de-CH" err="1"/>
              <a:t>Examples</a:t>
            </a:r>
            <a:endParaRPr lang="en-GB"/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8B40D517-2B27-E3CD-A044-A64A15D05BED}"/>
              </a:ext>
            </a:extLst>
          </p:cNvPr>
          <p:cNvSpPr/>
          <p:nvPr/>
        </p:nvSpPr>
        <p:spPr>
          <a:xfrm>
            <a:off x="3873954" y="132974"/>
            <a:ext cx="5159829" cy="486527"/>
          </a:xfrm>
          <a:prstGeom prst="wedgeRectCallout">
            <a:avLst>
              <a:gd name="adj1" fmla="val -21629"/>
              <a:gd name="adj2" fmla="val 116198"/>
            </a:avLst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/>
              <a:t>Copying or adapting someone else’s work (incl. </a:t>
            </a:r>
            <a:r>
              <a:rPr lang="en-GB" b="1" u="sng"/>
              <a:t>code</a:t>
            </a:r>
            <a:r>
              <a:rPr lang="en-GB"/>
              <a:t>) without proper attribution and presenting it as one's own original work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0275FF-4F5F-6E0B-939A-1DE208877C28}"/>
              </a:ext>
            </a:extLst>
          </p:cNvPr>
          <p:cNvSpPr txBox="1"/>
          <p:nvPr/>
        </p:nvSpPr>
        <p:spPr>
          <a:xfrm>
            <a:off x="4572000" y="3345398"/>
            <a:ext cx="391681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/>
              <a:t>«Write Python code to check </a:t>
            </a:r>
            <a:r>
              <a:rPr lang="de-CH" err="1"/>
              <a:t>if</a:t>
            </a:r>
            <a:r>
              <a:rPr lang="de-CH"/>
              <a:t> a </a:t>
            </a:r>
            <a:r>
              <a:rPr lang="de-CH" err="1"/>
              <a:t>number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prime»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891DCFA-9B24-F317-3DE6-EDA142D4816A}"/>
              </a:ext>
            </a:extLst>
          </p:cNvPr>
          <p:cNvSpPr/>
          <p:nvPr/>
        </p:nvSpPr>
        <p:spPr>
          <a:xfrm>
            <a:off x="408213" y="3773835"/>
            <a:ext cx="3167743" cy="843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/>
              <a:t>* Follow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university</a:t>
            </a:r>
            <a:r>
              <a:rPr lang="de-CH"/>
              <a:t> </a:t>
            </a:r>
            <a:r>
              <a:rPr lang="de-CH" err="1"/>
              <a:t>guidelines</a:t>
            </a:r>
            <a:r>
              <a:rPr lang="de-CH"/>
              <a:t> and </a:t>
            </a:r>
            <a:r>
              <a:rPr lang="de-CH" err="1"/>
              <a:t>write</a:t>
            </a:r>
            <a:r>
              <a:rPr lang="de-CH"/>
              <a:t> a </a:t>
            </a:r>
            <a:r>
              <a:rPr lang="de-CH" err="1"/>
              <a:t>directory</a:t>
            </a:r>
            <a:r>
              <a:rPr lang="de-CH"/>
              <a:t> of </a:t>
            </a:r>
            <a:r>
              <a:rPr lang="de-CH" err="1"/>
              <a:t>aids</a:t>
            </a:r>
            <a:r>
              <a:rPr lang="de-CH"/>
              <a:t> </a:t>
            </a:r>
            <a:r>
              <a:rPr lang="de-CH" err="1"/>
              <a:t>when</a:t>
            </a:r>
            <a:r>
              <a:rPr lang="de-CH"/>
              <a:t> </a:t>
            </a:r>
            <a:r>
              <a:rPr lang="de-CH" err="1"/>
              <a:t>making</a:t>
            </a:r>
            <a:r>
              <a:rPr lang="de-CH"/>
              <a:t> </a:t>
            </a:r>
            <a:r>
              <a:rPr lang="de-CH" err="1"/>
              <a:t>use</a:t>
            </a:r>
            <a:r>
              <a:rPr lang="de-CH"/>
              <a:t> of </a:t>
            </a:r>
            <a:r>
              <a:rPr lang="de-CH" err="1"/>
              <a:t>other</a:t>
            </a:r>
            <a:r>
              <a:rPr lang="de-CH"/>
              <a:t> </a:t>
            </a:r>
            <a:r>
              <a:rPr lang="de-CH" err="1"/>
              <a:t>peoples</a:t>
            </a:r>
            <a:r>
              <a:rPr lang="de-CH"/>
              <a:t>’ </a:t>
            </a:r>
            <a:r>
              <a:rPr lang="de-CH" err="1"/>
              <a:t>help</a:t>
            </a:r>
            <a:r>
              <a:rPr lang="de-CH"/>
              <a:t> </a:t>
            </a:r>
            <a:r>
              <a:rPr lang="de-CH" err="1"/>
              <a:t>or</a:t>
            </a:r>
            <a:r>
              <a:rPr lang="de-CH"/>
              <a:t> generative AI. </a:t>
            </a:r>
            <a:r>
              <a:rPr lang="de-CH" err="1"/>
              <a:t>Everything</a:t>
            </a:r>
            <a:r>
              <a:rPr lang="de-CH"/>
              <a:t> </a:t>
            </a:r>
            <a:r>
              <a:rPr lang="de-CH" err="1"/>
              <a:t>else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</a:t>
            </a:r>
            <a:r>
              <a:rPr lang="de-CH" err="1"/>
              <a:t>considered</a:t>
            </a:r>
            <a:r>
              <a:rPr lang="de-CH"/>
              <a:t> </a:t>
            </a:r>
            <a:r>
              <a:rPr lang="de-CH" err="1"/>
              <a:t>plagiarism</a:t>
            </a:r>
            <a:r>
              <a:rPr lang="de-CH"/>
              <a:t>!</a:t>
            </a:r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7E59BDE-6F0B-817B-66E0-C706A2BB5D3D}"/>
              </a:ext>
            </a:extLst>
          </p:cNvPr>
          <p:cNvSpPr txBox="1"/>
          <p:nvPr/>
        </p:nvSpPr>
        <p:spPr>
          <a:xfrm>
            <a:off x="4572000" y="2710695"/>
            <a:ext cx="391681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/>
              <a:t>«Can you </a:t>
            </a:r>
            <a:r>
              <a:rPr lang="de-CH" err="1"/>
              <a:t>write</a:t>
            </a:r>
            <a:r>
              <a:rPr lang="de-CH"/>
              <a:t> that code for </a:t>
            </a:r>
            <a:r>
              <a:rPr lang="de-CH" err="1"/>
              <a:t>me</a:t>
            </a:r>
            <a:r>
              <a:rPr lang="de-CH"/>
              <a:t>?» / «Can you </a:t>
            </a:r>
            <a:r>
              <a:rPr lang="de-CH" err="1"/>
              <a:t>dictate</a:t>
            </a:r>
            <a:r>
              <a:rPr lang="de-CH"/>
              <a:t> </a:t>
            </a:r>
            <a:r>
              <a:rPr lang="de-CH" err="1"/>
              <a:t>me</a:t>
            </a:r>
            <a:r>
              <a:rPr lang="de-CH"/>
              <a:t> </a:t>
            </a:r>
            <a:r>
              <a:rPr lang="de-CH" err="1"/>
              <a:t>exactly</a:t>
            </a:r>
            <a:r>
              <a:rPr lang="de-CH"/>
              <a:t> what code I should </a:t>
            </a:r>
            <a:r>
              <a:rPr lang="de-CH" err="1"/>
              <a:t>write</a:t>
            </a:r>
            <a:r>
              <a:rPr lang="de-CH"/>
              <a:t>?»</a:t>
            </a:r>
            <a:endParaRPr lang="en-GB"/>
          </a:p>
        </p:txBody>
      </p:sp>
      <p:pic>
        <p:nvPicPr>
          <p:cNvPr id="19" name="Picture 18" descr="A stop sign on a fence&#10;&#10;Description automatically generated">
            <a:extLst>
              <a:ext uri="{FF2B5EF4-FFF2-40B4-BE49-F238E27FC236}">
                <a16:creationId xmlns:a16="http://schemas.microsoft.com/office/drawing/2014/main" id="{77899B1F-BABF-F87D-8435-120C89A55D4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35" t="43952" r="38260" b="21400"/>
          <a:stretch/>
        </p:blipFill>
        <p:spPr>
          <a:xfrm>
            <a:off x="4712833" y="1354603"/>
            <a:ext cx="1103686" cy="118052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634D4BC-7A10-C25C-B005-3A567B502073}"/>
              </a:ext>
            </a:extLst>
          </p:cNvPr>
          <p:cNvSpPr txBox="1"/>
          <p:nvPr/>
        </p:nvSpPr>
        <p:spPr>
          <a:xfrm>
            <a:off x="5816519" y="1298856"/>
            <a:ext cx="2812415" cy="1284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/>
              <a:t>This </a:t>
            </a:r>
            <a:r>
              <a:rPr lang="de-CH" err="1"/>
              <a:t>is</a:t>
            </a:r>
            <a:r>
              <a:rPr lang="de-CH"/>
              <a:t> a </a:t>
            </a:r>
            <a:r>
              <a:rPr lang="de-CH" err="1"/>
              <a:t>joke</a:t>
            </a:r>
            <a:r>
              <a:rPr lang="de-CH"/>
              <a:t> </a:t>
            </a:r>
            <a:r>
              <a:rPr lang="de-CH" err="1"/>
              <a:t>about</a:t>
            </a:r>
            <a:r>
              <a:rPr lang="de-CH"/>
              <a:t> </a:t>
            </a:r>
            <a:r>
              <a:rPr lang="de-CH" err="1"/>
              <a:t>programmers</a:t>
            </a:r>
            <a:r>
              <a:rPr lang="de-CH"/>
              <a:t> </a:t>
            </a:r>
            <a:r>
              <a:rPr lang="de-CH" err="1"/>
              <a:t>commenting</a:t>
            </a:r>
            <a:r>
              <a:rPr lang="de-CH"/>
              <a:t> </a:t>
            </a:r>
            <a:r>
              <a:rPr lang="de-CH" err="1"/>
              <a:t>everything</a:t>
            </a:r>
            <a:r>
              <a:rPr lang="de-CH"/>
              <a:t> in their code.</a:t>
            </a:r>
          </a:p>
          <a:p>
            <a:endParaRPr lang="de-CH" sz="800" i="1"/>
          </a:p>
          <a:p>
            <a:r>
              <a:rPr lang="de-CH" i="1"/>
              <a:t>I </a:t>
            </a:r>
            <a:r>
              <a:rPr lang="de-CH" i="1" err="1"/>
              <a:t>used</a:t>
            </a:r>
            <a:r>
              <a:rPr lang="de-CH" i="1"/>
              <a:t> </a:t>
            </a:r>
            <a:r>
              <a:rPr lang="de-CH" i="1" err="1"/>
              <a:t>this</a:t>
            </a:r>
            <a:r>
              <a:rPr lang="de-CH" i="1"/>
              <a:t> </a:t>
            </a:r>
            <a:r>
              <a:rPr lang="de-CH" i="1" err="1"/>
              <a:t>image</a:t>
            </a:r>
            <a:r>
              <a:rPr lang="de-CH" i="1"/>
              <a:t> without </a:t>
            </a:r>
            <a:r>
              <a:rPr lang="de-CH" i="1" err="1"/>
              <a:t>asking</a:t>
            </a:r>
            <a:r>
              <a:rPr lang="de-CH" i="1"/>
              <a:t> for </a:t>
            </a:r>
            <a:r>
              <a:rPr lang="de-CH" i="1" err="1"/>
              <a:t>permission</a:t>
            </a:r>
            <a:r>
              <a:rPr lang="de-CH" i="1"/>
              <a:t>, </a:t>
            </a:r>
            <a:r>
              <a:rPr lang="de-CH" i="1" err="1"/>
              <a:t>neither</a:t>
            </a:r>
            <a:r>
              <a:rPr lang="de-CH" i="1"/>
              <a:t> </a:t>
            </a:r>
            <a:r>
              <a:rPr lang="de-CH" i="1" err="1"/>
              <a:t>giving</a:t>
            </a:r>
            <a:r>
              <a:rPr lang="de-CH" i="1"/>
              <a:t> a </a:t>
            </a:r>
            <a:r>
              <a:rPr lang="de-CH" i="1" err="1"/>
              <a:t>citation</a:t>
            </a:r>
            <a:endParaRPr lang="de-CH" i="1"/>
          </a:p>
          <a:p>
            <a:r>
              <a:rPr lang="de-CH">
                <a:sym typeface="Wingdings" panose="05000000000000000000" pitchFamily="2" charset="2"/>
              </a:rPr>
              <a:t> </a:t>
            </a:r>
            <a:r>
              <a:rPr lang="de-CH" b="1">
                <a:sym typeface="Wingdings" panose="05000000000000000000" pitchFamily="2" charset="2"/>
              </a:rPr>
              <a:t>Not </a:t>
            </a:r>
            <a:r>
              <a:rPr lang="de-CH" b="1" err="1">
                <a:sym typeface="Wingdings" panose="05000000000000000000" pitchFamily="2" charset="2"/>
              </a:rPr>
              <a:t>allowed</a:t>
            </a:r>
            <a:r>
              <a:rPr lang="de-CH" b="1">
                <a:sym typeface="Wingdings" panose="05000000000000000000" pitchFamily="2" charset="2"/>
              </a:rPr>
              <a:t> in your </a:t>
            </a:r>
            <a:r>
              <a:rPr lang="de-CH" b="1" err="1">
                <a:sym typeface="Wingdings" panose="05000000000000000000" pitchFamily="2" charset="2"/>
              </a:rPr>
              <a:t>work</a:t>
            </a:r>
            <a:r>
              <a:rPr lang="de-CH" b="1">
                <a:sym typeface="Wingdings" panose="05000000000000000000" pitchFamily="2" charset="2"/>
              </a:rPr>
              <a:t>!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44900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CF0080-215A-C544-16D8-0A6E71C82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A </a:t>
            </a:r>
            <a:r>
              <a:rPr lang="de-CH" err="1"/>
              <a:t>note</a:t>
            </a:r>
            <a:r>
              <a:rPr lang="de-CH"/>
              <a:t> on </a:t>
            </a:r>
            <a:r>
              <a:rPr lang="de-CH" err="1"/>
              <a:t>ChatGPT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09C76D-E054-0EF4-EB96-454296425E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5" y="1134836"/>
            <a:ext cx="5005704" cy="3535906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/>
            <a:r>
              <a:rPr lang="de-CH" sz="1800" err="1"/>
              <a:t>If</a:t>
            </a:r>
            <a:r>
              <a:rPr lang="de-CH" sz="1800"/>
              <a:t> </a:t>
            </a:r>
            <a:r>
              <a:rPr lang="de-CH" sz="1800" err="1"/>
              <a:t>you</a:t>
            </a:r>
            <a:r>
              <a:rPr lang="de-CH" sz="1800"/>
              <a:t> </a:t>
            </a:r>
            <a:r>
              <a:rPr lang="de-CH" sz="1800" err="1"/>
              <a:t>let</a:t>
            </a:r>
            <a:r>
              <a:rPr lang="de-CH" sz="1800"/>
              <a:t> </a:t>
            </a:r>
            <a:r>
              <a:rPr lang="de-CH" sz="1800" err="1"/>
              <a:t>ChatGPT</a:t>
            </a:r>
            <a:r>
              <a:rPr lang="de-CH" sz="1800"/>
              <a:t> code </a:t>
            </a:r>
            <a:r>
              <a:rPr lang="de-CH" sz="1800" err="1"/>
              <a:t>your</a:t>
            </a:r>
            <a:r>
              <a:rPr lang="de-CH" sz="1800"/>
              <a:t> </a:t>
            </a:r>
            <a:r>
              <a:rPr lang="de-CH" sz="1800" err="1"/>
              <a:t>whole</a:t>
            </a:r>
            <a:r>
              <a:rPr lang="de-CH" sz="1800"/>
              <a:t> </a:t>
            </a:r>
            <a:r>
              <a:rPr lang="de-CH" sz="1800" err="1"/>
              <a:t>program</a:t>
            </a:r>
            <a:r>
              <a:rPr lang="de-CH" sz="1800"/>
              <a:t> &amp; </a:t>
            </a:r>
            <a:r>
              <a:rPr lang="de-CH" sz="1800" err="1"/>
              <a:t>cite</a:t>
            </a:r>
            <a:r>
              <a:rPr lang="de-CH" sz="1800"/>
              <a:t> </a:t>
            </a:r>
            <a:r>
              <a:rPr lang="de-CH" sz="1800" err="1"/>
              <a:t>this</a:t>
            </a:r>
            <a:r>
              <a:rPr lang="de-CH" sz="1800"/>
              <a:t> </a:t>
            </a:r>
            <a:r>
              <a:rPr lang="de-CH" sz="1800" err="1"/>
              <a:t>appropriately</a:t>
            </a:r>
            <a:r>
              <a:rPr lang="de-CH" sz="1800"/>
              <a:t>, </a:t>
            </a:r>
            <a:r>
              <a:rPr lang="de-CH" sz="1800" err="1"/>
              <a:t>this</a:t>
            </a:r>
            <a:r>
              <a:rPr lang="de-CH" sz="1800"/>
              <a:t> </a:t>
            </a:r>
            <a:r>
              <a:rPr lang="de-CH" sz="1800" err="1"/>
              <a:t>is</a:t>
            </a:r>
            <a:r>
              <a:rPr lang="de-CH" sz="1800"/>
              <a:t> …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e-CH" sz="1800"/>
              <a:t>… </a:t>
            </a:r>
            <a:r>
              <a:rPr lang="de-CH" sz="1800" b="1" err="1">
                <a:solidFill>
                  <a:srgbClr val="0A5F2D"/>
                </a:solidFill>
              </a:rPr>
              <a:t>fine</a:t>
            </a:r>
            <a:r>
              <a:rPr lang="de-CH" sz="1800"/>
              <a:t> </a:t>
            </a:r>
            <a:r>
              <a:rPr lang="de-CH" sz="1800" err="1"/>
              <a:t>from</a:t>
            </a:r>
            <a:r>
              <a:rPr lang="de-CH" sz="1800"/>
              <a:t> a </a:t>
            </a:r>
            <a:r>
              <a:rPr lang="de-CH" sz="1800" err="1"/>
              <a:t>plagiarism</a:t>
            </a:r>
            <a:r>
              <a:rPr lang="de-CH" sz="1800"/>
              <a:t> </a:t>
            </a:r>
            <a:r>
              <a:rPr lang="de-CH" sz="1800" err="1"/>
              <a:t>point</a:t>
            </a:r>
            <a:r>
              <a:rPr lang="de-CH" sz="1800"/>
              <a:t> </a:t>
            </a:r>
            <a:r>
              <a:rPr lang="de-CH" sz="1800" err="1"/>
              <a:t>of</a:t>
            </a:r>
            <a:r>
              <a:rPr lang="de-CH" sz="1800"/>
              <a:t> </a:t>
            </a:r>
            <a:r>
              <a:rPr lang="de-CH" sz="1800" err="1"/>
              <a:t>view</a:t>
            </a:r>
            <a:r>
              <a:rPr lang="de-CH" sz="1800"/>
              <a:t>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e-CH" sz="1800"/>
              <a:t>… </a:t>
            </a:r>
            <a:r>
              <a:rPr lang="de-CH" sz="1800" b="1" err="1">
                <a:solidFill>
                  <a:srgbClr val="FF0000"/>
                </a:solidFill>
              </a:rPr>
              <a:t>bad</a:t>
            </a:r>
            <a:r>
              <a:rPr lang="de-CH" sz="1800" b="1">
                <a:solidFill>
                  <a:srgbClr val="FF0000"/>
                </a:solidFill>
              </a:rPr>
              <a:t> </a:t>
            </a:r>
            <a:r>
              <a:rPr lang="de-CH" sz="1800" err="1"/>
              <a:t>from</a:t>
            </a:r>
            <a:r>
              <a:rPr lang="de-CH" sz="1800"/>
              <a:t> a </a:t>
            </a:r>
            <a:r>
              <a:rPr lang="de-CH" sz="1800" err="1"/>
              <a:t>contributional</a:t>
            </a:r>
            <a:r>
              <a:rPr lang="de-CH" sz="1800"/>
              <a:t> </a:t>
            </a:r>
            <a:r>
              <a:rPr lang="de-CH" sz="1800" err="1"/>
              <a:t>point</a:t>
            </a:r>
            <a:r>
              <a:rPr lang="de-CH" sz="1800"/>
              <a:t> </a:t>
            </a:r>
            <a:r>
              <a:rPr lang="de-CH" sz="1800" err="1"/>
              <a:t>of</a:t>
            </a:r>
            <a:r>
              <a:rPr lang="de-CH" sz="1800"/>
              <a:t> </a:t>
            </a:r>
            <a:r>
              <a:rPr lang="de-CH" sz="1800" err="1"/>
              <a:t>view</a:t>
            </a:r>
            <a:r>
              <a:rPr lang="de-CH" sz="1800"/>
              <a:t>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de-CH" sz="1800"/>
          </a:p>
          <a:p>
            <a:pPr marL="0" indent="0"/>
            <a:r>
              <a:rPr lang="de-CH" sz="1800"/>
              <a:t>In </a:t>
            </a:r>
            <a:r>
              <a:rPr lang="de-CH" sz="1800" err="1"/>
              <a:t>programming</a:t>
            </a:r>
            <a:r>
              <a:rPr lang="de-CH" sz="1800"/>
              <a:t> </a:t>
            </a:r>
            <a:r>
              <a:rPr lang="de-CH" sz="1800" err="1"/>
              <a:t>you</a:t>
            </a:r>
            <a:r>
              <a:rPr lang="de-CH" sz="1800"/>
              <a:t> </a:t>
            </a:r>
            <a:r>
              <a:rPr lang="de-CH" sz="1800" err="1"/>
              <a:t>as</a:t>
            </a:r>
            <a:r>
              <a:rPr lang="de-CH" sz="1800"/>
              <a:t> a </a:t>
            </a:r>
            <a:r>
              <a:rPr lang="de-CH" sz="1800" err="1"/>
              <a:t>programmer</a:t>
            </a:r>
            <a:r>
              <a:rPr lang="de-CH" sz="1800"/>
              <a:t> …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e-CH" sz="1800"/>
              <a:t>… </a:t>
            </a:r>
            <a:r>
              <a:rPr lang="de-CH" sz="1800" b="1" err="1">
                <a:solidFill>
                  <a:srgbClr val="FF0000"/>
                </a:solidFill>
              </a:rPr>
              <a:t>don’t</a:t>
            </a:r>
            <a:r>
              <a:rPr lang="de-CH" sz="1800" b="1">
                <a:solidFill>
                  <a:srgbClr val="FF0000"/>
                </a:solidFill>
              </a:rPr>
              <a:t> </a:t>
            </a:r>
            <a:r>
              <a:rPr lang="de-CH" sz="1800" b="1" err="1">
                <a:solidFill>
                  <a:srgbClr val="FF0000"/>
                </a:solidFill>
              </a:rPr>
              <a:t>need</a:t>
            </a:r>
            <a:r>
              <a:rPr lang="de-CH" sz="1800" b="1">
                <a:solidFill>
                  <a:srgbClr val="FF0000"/>
                </a:solidFill>
              </a:rPr>
              <a:t> </a:t>
            </a:r>
            <a:r>
              <a:rPr lang="de-CH" sz="1800" err="1"/>
              <a:t>to</a:t>
            </a:r>
            <a:r>
              <a:rPr lang="de-CH" sz="1800"/>
              <a:t> </a:t>
            </a:r>
            <a:r>
              <a:rPr lang="de-CH" sz="1800" err="1"/>
              <a:t>reinvent</a:t>
            </a:r>
            <a:r>
              <a:rPr lang="de-CH" sz="1800"/>
              <a:t> </a:t>
            </a:r>
            <a:r>
              <a:rPr lang="de-CH" sz="1800" err="1"/>
              <a:t>the</a:t>
            </a:r>
            <a:r>
              <a:rPr lang="de-CH" sz="1800"/>
              <a:t> </a:t>
            </a:r>
            <a:r>
              <a:rPr lang="de-CH" sz="1800" err="1"/>
              <a:t>wheel</a:t>
            </a:r>
            <a:endParaRPr lang="de-CH" sz="180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e-CH" sz="1800"/>
              <a:t>… </a:t>
            </a:r>
            <a:r>
              <a:rPr lang="de-CH" sz="1800" b="1" err="1">
                <a:solidFill>
                  <a:srgbClr val="0A5F2D"/>
                </a:solidFill>
              </a:rPr>
              <a:t>need</a:t>
            </a:r>
            <a:r>
              <a:rPr lang="de-CH" sz="1800"/>
              <a:t> </a:t>
            </a:r>
            <a:r>
              <a:rPr lang="de-CH" sz="1800" err="1"/>
              <a:t>to</a:t>
            </a:r>
            <a:r>
              <a:rPr lang="de-CH" sz="1800"/>
              <a:t> </a:t>
            </a:r>
            <a:r>
              <a:rPr lang="de-CH" sz="1800" err="1"/>
              <a:t>put</a:t>
            </a:r>
            <a:r>
              <a:rPr lang="de-CH" sz="1800"/>
              <a:t> </a:t>
            </a:r>
            <a:r>
              <a:rPr lang="de-CH" sz="1800" err="1"/>
              <a:t>the</a:t>
            </a:r>
            <a:r>
              <a:rPr lang="de-CH" sz="1800"/>
              <a:t> code </a:t>
            </a:r>
            <a:r>
              <a:rPr lang="de-CH" sz="1800" err="1"/>
              <a:t>together</a:t>
            </a:r>
            <a:r>
              <a:rPr lang="de-CH" sz="1800"/>
              <a:t> in a </a:t>
            </a:r>
            <a:r>
              <a:rPr lang="de-CH" sz="1800" err="1"/>
              <a:t>new</a:t>
            </a:r>
            <a:r>
              <a:rPr lang="de-CH" sz="1800"/>
              <a:t> </a:t>
            </a:r>
            <a:r>
              <a:rPr lang="de-CH" sz="1800" err="1"/>
              <a:t>way</a:t>
            </a:r>
            <a:r>
              <a:rPr lang="de-CH" sz="1800"/>
              <a:t>, such </a:t>
            </a:r>
            <a:r>
              <a:rPr lang="de-CH" sz="1800" err="1"/>
              <a:t>that</a:t>
            </a:r>
            <a:r>
              <a:rPr lang="de-CH" sz="1800"/>
              <a:t> </a:t>
            </a:r>
            <a:r>
              <a:rPr lang="de-CH" sz="1800" err="1"/>
              <a:t>it</a:t>
            </a:r>
            <a:r>
              <a:rPr lang="de-CH" sz="1800"/>
              <a:t> </a:t>
            </a:r>
            <a:r>
              <a:rPr lang="de-CH" sz="1800" err="1"/>
              <a:t>solves</a:t>
            </a:r>
            <a:r>
              <a:rPr lang="de-CH" sz="1800"/>
              <a:t> </a:t>
            </a:r>
            <a:r>
              <a:rPr lang="de-CH" sz="1800" err="1"/>
              <a:t>your</a:t>
            </a:r>
            <a:r>
              <a:rPr lang="de-CH" sz="1800"/>
              <a:t> </a:t>
            </a:r>
            <a:r>
              <a:rPr lang="de-CH" sz="1800" err="1"/>
              <a:t>specific</a:t>
            </a:r>
            <a:r>
              <a:rPr lang="de-CH" sz="1800"/>
              <a:t> </a:t>
            </a:r>
            <a:r>
              <a:rPr lang="de-CH" sz="1800" err="1"/>
              <a:t>problem</a:t>
            </a:r>
            <a:endParaRPr lang="de-CH" sz="1800"/>
          </a:p>
          <a:p>
            <a:pPr marL="0" indent="0"/>
            <a:endParaRPr lang="de-CH" sz="1800"/>
          </a:p>
          <a:p>
            <a:pPr marL="0" indent="0"/>
            <a:r>
              <a:rPr lang="de-CH" sz="1800">
                <a:sym typeface="Wingdings" panose="05000000000000000000" pitchFamily="2" charset="2"/>
              </a:rPr>
              <a:t> </a:t>
            </a:r>
            <a:r>
              <a:rPr lang="de-CH" sz="1800" err="1">
                <a:sym typeface="Wingdings" panose="05000000000000000000" pitchFamily="2" charset="2"/>
              </a:rPr>
              <a:t>If</a:t>
            </a:r>
            <a:r>
              <a:rPr lang="de-CH" sz="1800">
                <a:sym typeface="Wingdings" panose="05000000000000000000" pitchFamily="2" charset="2"/>
              </a:rPr>
              <a:t> </a:t>
            </a:r>
            <a:r>
              <a:rPr lang="de-CH" sz="1800" err="1">
                <a:sym typeface="Wingdings" panose="05000000000000000000" pitchFamily="2" charset="2"/>
              </a:rPr>
              <a:t>your</a:t>
            </a:r>
            <a:r>
              <a:rPr lang="de-CH" sz="1800">
                <a:sym typeface="Wingdings" panose="05000000000000000000" pitchFamily="2" charset="2"/>
              </a:rPr>
              <a:t> </a:t>
            </a:r>
            <a:r>
              <a:rPr lang="de-CH" sz="1800" err="1"/>
              <a:t>solution</a:t>
            </a:r>
            <a:r>
              <a:rPr lang="de-CH" sz="1800"/>
              <a:t> </a:t>
            </a:r>
            <a:r>
              <a:rPr lang="de-CH" sz="1800" err="1"/>
              <a:t>lacks</a:t>
            </a:r>
            <a:r>
              <a:rPr lang="de-CH" sz="1800"/>
              <a:t> </a:t>
            </a:r>
            <a:r>
              <a:rPr lang="de-CH" sz="1800" err="1"/>
              <a:t>contribution</a:t>
            </a:r>
            <a:r>
              <a:rPr lang="de-CH" sz="1800"/>
              <a:t>, </a:t>
            </a:r>
            <a:r>
              <a:rPr lang="de-CH" sz="1800" err="1"/>
              <a:t>it</a:t>
            </a:r>
            <a:r>
              <a:rPr lang="de-CH" sz="1800"/>
              <a:t> </a:t>
            </a:r>
            <a:r>
              <a:rPr lang="de-CH" sz="1800" err="1"/>
              <a:t>won’t</a:t>
            </a:r>
            <a:r>
              <a:rPr lang="de-CH" sz="1800"/>
              <a:t> </a:t>
            </a:r>
            <a:r>
              <a:rPr lang="de-CH" sz="1800" err="1"/>
              <a:t>be</a:t>
            </a:r>
            <a:r>
              <a:rPr lang="de-CH" sz="1800"/>
              <a:t>  </a:t>
            </a:r>
            <a:r>
              <a:rPr lang="de-CH" sz="1800" err="1"/>
              <a:t>good</a:t>
            </a:r>
            <a:r>
              <a:rPr lang="de-CH" sz="1800"/>
              <a:t> </a:t>
            </a:r>
            <a:r>
              <a:rPr lang="de-CH" sz="1800" err="1"/>
              <a:t>for</a:t>
            </a:r>
            <a:r>
              <a:rPr lang="de-CH" sz="1800"/>
              <a:t> </a:t>
            </a:r>
            <a:r>
              <a:rPr lang="de-CH" sz="1800" err="1"/>
              <a:t>your</a:t>
            </a:r>
            <a:r>
              <a:rPr lang="de-CH" sz="1800"/>
              <a:t> grade, </a:t>
            </a:r>
            <a:r>
              <a:rPr lang="de-CH" sz="1800" err="1"/>
              <a:t>even</a:t>
            </a:r>
            <a:r>
              <a:rPr lang="de-CH" sz="1800"/>
              <a:t> </a:t>
            </a:r>
            <a:r>
              <a:rPr lang="de-CH" sz="1800" err="1"/>
              <a:t>if</a:t>
            </a:r>
            <a:r>
              <a:rPr lang="de-CH" sz="1800"/>
              <a:t> </a:t>
            </a:r>
            <a:r>
              <a:rPr lang="de-CH" sz="1800" err="1"/>
              <a:t>the</a:t>
            </a:r>
            <a:r>
              <a:rPr lang="de-CH" sz="1800"/>
              <a:t> code </a:t>
            </a:r>
            <a:r>
              <a:rPr lang="de-CH" sz="1800" err="1"/>
              <a:t>is</a:t>
            </a:r>
            <a:r>
              <a:rPr lang="de-CH" sz="1800"/>
              <a:t> </a:t>
            </a:r>
            <a:r>
              <a:rPr lang="de-CH" sz="1800" err="1"/>
              <a:t>perfect</a:t>
            </a:r>
            <a:r>
              <a:rPr lang="de-CH" sz="1800"/>
              <a:t>.</a:t>
            </a:r>
          </a:p>
          <a:p>
            <a:pPr marL="0" indent="0"/>
            <a:endParaRPr lang="en-GB" sz="18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3F85A6-CE8F-AE35-7A8E-132FF1EB69A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AE6B28-02B3-371B-7F86-576AAB653B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/>
              <a:t>Group Project</a:t>
            </a:r>
            <a:endParaRPr lang="en-GB"/>
          </a:p>
        </p:txBody>
      </p:sp>
      <p:pic>
        <p:nvPicPr>
          <p:cNvPr id="7" name="Content Placeholder 6" descr="A person with a white mask&#10;&#10;Description automatically generated">
            <a:extLst>
              <a:ext uri="{FF2B5EF4-FFF2-40B4-BE49-F238E27FC236}">
                <a16:creationId xmlns:a16="http://schemas.microsoft.com/office/drawing/2014/main" id="{7C98EC7C-0911-65AF-5ABF-D89EA90C1A3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" r="8" b="2323"/>
          <a:stretch/>
        </p:blipFill>
        <p:spPr>
          <a:xfrm>
            <a:off x="5638800" y="-1"/>
            <a:ext cx="3505200" cy="518181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112027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5B15D2-9859-3B75-00FB-3D3866A35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llaboration and communication</a:t>
            </a:r>
          </a:p>
        </p:txBody>
      </p:sp>
      <p:pic>
        <p:nvPicPr>
          <p:cNvPr id="16" name="Content Placeholder 1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A721E402-6640-F411-98A1-D366176D99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9951" y="933913"/>
            <a:ext cx="3886712" cy="2186276"/>
          </a:xfr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015ED8-A435-C16A-145F-3225CB29F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562B7A6-C428-0BA2-89BC-CF3868B195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/>
              <a:t>Group Project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B44A47-99BE-B935-3E95-6A549CA55A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1276349"/>
            <a:ext cx="5557116" cy="322622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9B5638-A48D-4C18-E9C4-046306620A5C}"/>
              </a:ext>
            </a:extLst>
          </p:cNvPr>
          <p:cNvSpPr/>
          <p:nvPr/>
        </p:nvSpPr>
        <p:spPr>
          <a:xfrm>
            <a:off x="295497" y="2362199"/>
            <a:ext cx="466503" cy="325583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69AE68-F50C-C95B-724E-009A81C0E6BC}"/>
              </a:ext>
            </a:extLst>
          </p:cNvPr>
          <p:cNvSpPr/>
          <p:nvPr/>
        </p:nvSpPr>
        <p:spPr>
          <a:xfrm>
            <a:off x="2138152" y="1565563"/>
            <a:ext cx="466503" cy="325583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F00EED-9D23-8901-5809-92B24E63240B}"/>
              </a:ext>
            </a:extLst>
          </p:cNvPr>
          <p:cNvSpPr/>
          <p:nvPr/>
        </p:nvSpPr>
        <p:spPr>
          <a:xfrm>
            <a:off x="4283763" y="3089563"/>
            <a:ext cx="1576710" cy="1336964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CB8B81B-F62C-1A2F-58FB-CB37000C5FDD}"/>
              </a:ext>
            </a:extLst>
          </p:cNvPr>
          <p:cNvCxnSpPr/>
          <p:nvPr/>
        </p:nvCxnSpPr>
        <p:spPr>
          <a:xfrm>
            <a:off x="6109856" y="985900"/>
            <a:ext cx="0" cy="364844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A logo of a company&#10;&#10;Description automatically generated">
            <a:extLst>
              <a:ext uri="{FF2B5EF4-FFF2-40B4-BE49-F238E27FC236}">
                <a16:creationId xmlns:a16="http://schemas.microsoft.com/office/drawing/2014/main" id="{B5536DA9-E4E6-E5BE-E2DC-9D72E4495E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7122" y="945573"/>
            <a:ext cx="2033282" cy="189114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D0C8AEF4-0FC3-4A76-D901-63EB490788CE}"/>
              </a:ext>
            </a:extLst>
          </p:cNvPr>
          <p:cNvSpPr txBox="1"/>
          <p:nvPr/>
        </p:nvSpPr>
        <p:spPr>
          <a:xfrm>
            <a:off x="5205333" y="162637"/>
            <a:ext cx="260863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en-US" sz="1600" b="1" dirty="0"/>
              <a:t>Escalate</a:t>
            </a:r>
            <a:r>
              <a:rPr lang="en-US" sz="1600" dirty="0"/>
              <a:t> </a:t>
            </a:r>
            <a:r>
              <a:rPr lang="en-US" sz="1600" i="1" dirty="0"/>
              <a:t>unsolvable</a:t>
            </a:r>
            <a:r>
              <a:rPr lang="en-US" sz="1600" dirty="0"/>
              <a:t> conflicts to your tutor </a:t>
            </a:r>
            <a:r>
              <a:rPr lang="en-US" sz="1600" b="1" dirty="0">
                <a:solidFill>
                  <a:srgbClr val="FF0000"/>
                </a:solidFill>
              </a:rPr>
              <a:t>early</a:t>
            </a:r>
            <a:r>
              <a:rPr lang="en-US" sz="1600" dirty="0"/>
              <a:t>.</a:t>
            </a:r>
          </a:p>
        </p:txBody>
      </p:sp>
      <p:pic>
        <p:nvPicPr>
          <p:cNvPr id="24" name="Graphic 23" descr="Exclamation mark with solid fill">
            <a:extLst>
              <a:ext uri="{FF2B5EF4-FFF2-40B4-BE49-F238E27FC236}">
                <a16:creationId xmlns:a16="http://schemas.microsoft.com/office/drawing/2014/main" id="{3B662EA7-95E1-0E2E-9202-89523F4A63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14454" y="79294"/>
            <a:ext cx="690646" cy="690646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6ACF705-0E7E-72A4-677A-DFF7494CB653}"/>
              </a:ext>
            </a:extLst>
          </p:cNvPr>
          <p:cNvSpPr/>
          <p:nvPr/>
        </p:nvSpPr>
        <p:spPr>
          <a:xfrm>
            <a:off x="6341485" y="3386370"/>
            <a:ext cx="2363643" cy="1073727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800"/>
              <a:t>Primer</a:t>
            </a:r>
          </a:p>
          <a:p>
            <a:pPr algn="ctr"/>
            <a:r>
              <a:rPr lang="de-CH" sz="2800" err="1"/>
              <a:t>next</a:t>
            </a:r>
            <a:r>
              <a:rPr lang="de-CH" sz="2800"/>
              <a:t> </a:t>
            </a:r>
            <a:r>
              <a:rPr lang="de-CH" sz="2800" err="1"/>
              <a:t>week</a:t>
            </a:r>
            <a:endParaRPr lang="en-GB" sz="2800"/>
          </a:p>
        </p:txBody>
      </p:sp>
    </p:spTree>
    <p:extLst>
      <p:ext uri="{BB962C8B-B14F-4D97-AF65-F5344CB8AC3E}">
        <p14:creationId xmlns:p14="http://schemas.microsoft.com/office/powerpoint/2010/main" val="4256641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8000" y="372609"/>
            <a:ext cx="6517820" cy="2496171"/>
          </a:xfrm>
        </p:spPr>
        <p:txBody>
          <a:bodyPr>
            <a:normAutofit/>
          </a:bodyPr>
          <a:lstStyle/>
          <a:p>
            <a:r>
              <a:rPr lang="en-US" dirty="0"/>
              <a:t>Group project: After this exercise you should know the things on </a:t>
            </a:r>
            <a:r>
              <a:rPr lang="en-US" b="1" u="sng" dirty="0">
                <a:sym typeface="Wingdings" panose="05000000000000000000" pitchFamily="2" charset="2"/>
              </a:rPr>
              <a:t>Slides 18-23</a:t>
            </a:r>
            <a:endParaRPr lang="en-US" b="1" u="sng" dirty="0"/>
          </a:p>
        </p:txBody>
      </p:sp>
    </p:spTree>
    <p:extLst>
      <p:ext uri="{BB962C8B-B14F-4D97-AF65-F5344CB8AC3E}">
        <p14:creationId xmlns:p14="http://schemas.microsoft.com/office/powerpoint/2010/main" val="2231965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treamlit</a:t>
            </a:r>
            <a:r>
              <a:rPr lang="en-US"/>
              <a:t> – step-by-ste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8</a:t>
            </a:fld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5CBB9D-C18A-80C2-472E-1C084050581B}"/>
              </a:ext>
            </a:extLst>
          </p:cNvPr>
          <p:cNvSpPr/>
          <p:nvPr/>
        </p:nvSpPr>
        <p:spPr>
          <a:xfrm>
            <a:off x="900334" y="1300022"/>
            <a:ext cx="2272146" cy="3307814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 err="1"/>
              <a:t>Install</a:t>
            </a:r>
            <a:r>
              <a:rPr lang="de-CH" b="1"/>
              <a:t> a </a:t>
            </a:r>
            <a:r>
              <a:rPr lang="de-CH" b="1" err="1"/>
              <a:t>text</a:t>
            </a:r>
            <a:r>
              <a:rPr lang="de-CH" b="1"/>
              <a:t> </a:t>
            </a:r>
            <a:r>
              <a:rPr lang="de-CH" b="1" err="1"/>
              <a:t>editor</a:t>
            </a:r>
            <a:br>
              <a:rPr lang="de-CH" b="1"/>
            </a:br>
            <a:r>
              <a:rPr lang="de-CH" b="1"/>
              <a:t>(</a:t>
            </a:r>
            <a:r>
              <a:rPr lang="de-CH" b="1" err="1"/>
              <a:t>or</a:t>
            </a:r>
            <a:r>
              <a:rPr lang="de-CH" b="1"/>
              <a:t> IDE)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6A0F4A3-2DF2-CB77-24B2-D587D564FDAF}"/>
              </a:ext>
            </a:extLst>
          </p:cNvPr>
          <p:cNvSpPr>
            <a:spLocks noChangeAspect="1"/>
          </p:cNvSpPr>
          <p:nvPr/>
        </p:nvSpPr>
        <p:spPr>
          <a:xfrm>
            <a:off x="704147" y="1104042"/>
            <a:ext cx="392374" cy="39196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tx1"/>
                </a:solidFill>
              </a:rPr>
              <a:t>1</a:t>
            </a:r>
            <a:endParaRPr lang="LID4096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EEB67D-B503-B10B-DC09-C352111C6843}"/>
              </a:ext>
            </a:extLst>
          </p:cNvPr>
          <p:cNvSpPr/>
          <p:nvPr/>
        </p:nvSpPr>
        <p:spPr>
          <a:xfrm>
            <a:off x="6523264" y="179206"/>
            <a:ext cx="2432957" cy="72780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/>
              <a:t>GOAL) </a:t>
            </a:r>
            <a:r>
              <a:rPr lang="de-CH"/>
              <a:t>You </a:t>
            </a:r>
            <a:r>
              <a:rPr lang="de-CH" err="1"/>
              <a:t>can</a:t>
            </a:r>
            <a:r>
              <a:rPr lang="de-CH"/>
              <a:t>:</a:t>
            </a:r>
          </a:p>
          <a:p>
            <a:pPr algn="ctr"/>
            <a:r>
              <a:rPr lang="de-CH"/>
              <a:t>open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editor</a:t>
            </a:r>
            <a:endParaRPr lang="de-CH"/>
          </a:p>
          <a:p>
            <a:pPr algn="ctr"/>
            <a:r>
              <a:rPr lang="de-CH"/>
              <a:t>of your </a:t>
            </a:r>
            <a:r>
              <a:rPr lang="de-CH" err="1"/>
              <a:t>choice</a:t>
            </a:r>
            <a:r>
              <a:rPr lang="de-CH"/>
              <a:t>!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FD2939A-3DA8-113E-9F17-67A8772DBD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8667" y="1300023"/>
            <a:ext cx="3444429" cy="2047938"/>
          </a:xfrm>
          <a:prstGeom prst="rect">
            <a:avLst/>
          </a:prstGeom>
        </p:spPr>
      </p:pic>
      <p:pic>
        <p:nvPicPr>
          <p:cNvPr id="13" name="Content Placeholder 8">
            <a:extLst>
              <a:ext uri="{FF2B5EF4-FFF2-40B4-BE49-F238E27FC236}">
                <a16:creationId xmlns:a16="http://schemas.microsoft.com/office/drawing/2014/main" id="{05400668-9B06-5BA4-93CF-D45A189F033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572000" y="2011367"/>
            <a:ext cx="2784046" cy="2124667"/>
          </a:xfr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9789952-8C9F-B33B-FA9A-24DD3C727C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7565"/>
          <a:stretch/>
        </p:blipFill>
        <p:spPr>
          <a:xfrm>
            <a:off x="6228613" y="2833006"/>
            <a:ext cx="2341860" cy="1774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6778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treamlit</a:t>
            </a:r>
            <a:r>
              <a:rPr lang="en-US"/>
              <a:t> – step-by-ste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055D0-88FC-814E-85AF-F5DD6D2473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086765"/>
            <a:ext cx="8426450" cy="3307814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5CBB9D-C18A-80C2-472E-1C084050581B}"/>
              </a:ext>
            </a:extLst>
          </p:cNvPr>
          <p:cNvSpPr/>
          <p:nvPr/>
        </p:nvSpPr>
        <p:spPr>
          <a:xfrm>
            <a:off x="900334" y="1300022"/>
            <a:ext cx="2272146" cy="3307814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/>
              <a:t>Open </a:t>
            </a:r>
            <a:r>
              <a:rPr lang="de-CH" b="1" err="1"/>
              <a:t>Anaconda</a:t>
            </a:r>
            <a:r>
              <a:rPr lang="de-CH" b="1"/>
              <a:t> </a:t>
            </a:r>
            <a:r>
              <a:rPr lang="de-CH" b="1" err="1"/>
              <a:t>commandline</a:t>
            </a:r>
            <a:endParaRPr lang="LID4096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6A0F4A3-2DF2-CB77-24B2-D587D564FDAF}"/>
              </a:ext>
            </a:extLst>
          </p:cNvPr>
          <p:cNvSpPr>
            <a:spLocks noChangeAspect="1"/>
          </p:cNvSpPr>
          <p:nvPr/>
        </p:nvSpPr>
        <p:spPr>
          <a:xfrm>
            <a:off x="704147" y="1104042"/>
            <a:ext cx="392374" cy="39196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tx1"/>
                </a:solidFill>
              </a:rPr>
              <a:t>2</a:t>
            </a:r>
            <a:endParaRPr lang="LID4096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DFEBE8-B79E-CB34-2E77-C4DF9B52E4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2020" y="1085942"/>
            <a:ext cx="4339003" cy="217393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C51596-11BF-36EA-FDCA-2F86405E4C01}"/>
              </a:ext>
            </a:extLst>
          </p:cNvPr>
          <p:cNvSpPr/>
          <p:nvPr/>
        </p:nvSpPr>
        <p:spPr>
          <a:xfrm>
            <a:off x="5025119" y="1519210"/>
            <a:ext cx="1510393" cy="1710418"/>
          </a:xfrm>
          <a:prstGeom prst="rect">
            <a:avLst/>
          </a:prstGeom>
          <a:noFill/>
          <a:ln w="38100">
            <a:solidFill>
              <a:srgbClr val="0A5F2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2B4C01-FD5A-438C-6A94-20387C35A4B6}"/>
              </a:ext>
            </a:extLst>
          </p:cNvPr>
          <p:cNvSpPr/>
          <p:nvPr/>
        </p:nvSpPr>
        <p:spPr>
          <a:xfrm>
            <a:off x="900334" y="2766870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 err="1"/>
              <a:t>Install</a:t>
            </a:r>
            <a:r>
              <a:rPr lang="de-CH" b="1"/>
              <a:t> </a:t>
            </a:r>
            <a:r>
              <a:rPr lang="de-CH" b="1" err="1"/>
              <a:t>streamlit</a:t>
            </a:r>
            <a:r>
              <a:rPr lang="de-CH" b="1"/>
              <a:t>:</a:t>
            </a:r>
          </a:p>
          <a:p>
            <a:pPr algn="ctr"/>
            <a:r>
              <a:rPr lang="de-CH" err="1"/>
              <a:t>pip</a:t>
            </a:r>
            <a:r>
              <a:rPr lang="de-CH"/>
              <a:t> </a:t>
            </a:r>
            <a:r>
              <a:rPr lang="de-CH" err="1"/>
              <a:t>install</a:t>
            </a:r>
            <a:r>
              <a:rPr lang="de-CH"/>
              <a:t> </a:t>
            </a:r>
            <a:r>
              <a:rPr lang="de-CH" err="1"/>
              <a:t>streamlit</a:t>
            </a:r>
            <a:endParaRPr lang="LID4096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705C2FF-DA22-BEC8-C788-79C4958227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2020" y="3533947"/>
            <a:ext cx="4339003" cy="27146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07B8A01-4AB3-6B0F-C722-AFEF81D981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9304" y="3975919"/>
            <a:ext cx="7181719" cy="40479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58332D1-71FE-70E2-5976-FD1B444DD532}"/>
              </a:ext>
            </a:extLst>
          </p:cNvPr>
          <p:cNvSpPr/>
          <p:nvPr/>
        </p:nvSpPr>
        <p:spPr>
          <a:xfrm>
            <a:off x="1002978" y="4225018"/>
            <a:ext cx="1074833" cy="18683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F88ED1-1EAE-E075-8122-B2A6E890D52F}"/>
              </a:ext>
            </a:extLst>
          </p:cNvPr>
          <p:cNvSpPr/>
          <p:nvPr/>
        </p:nvSpPr>
        <p:spPr>
          <a:xfrm>
            <a:off x="6523264" y="179206"/>
            <a:ext cx="2432957" cy="72780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/>
              <a:t>GOAL) </a:t>
            </a:r>
            <a:r>
              <a:rPr lang="de-CH"/>
              <a:t>You </a:t>
            </a:r>
            <a:r>
              <a:rPr lang="de-CH" err="1"/>
              <a:t>can</a:t>
            </a:r>
            <a:r>
              <a:rPr lang="de-CH"/>
              <a:t>:</a:t>
            </a:r>
          </a:p>
          <a:p>
            <a:pPr algn="ctr"/>
            <a:r>
              <a:rPr lang="de-CH"/>
              <a:t>1) open </a:t>
            </a:r>
            <a:r>
              <a:rPr lang="de-CH" err="1"/>
              <a:t>the</a:t>
            </a:r>
            <a:r>
              <a:rPr lang="de-CH"/>
              <a:t> CMD</a:t>
            </a:r>
          </a:p>
          <a:p>
            <a:pPr algn="ctr"/>
            <a:r>
              <a:rPr lang="de-CH"/>
              <a:t>2) </a:t>
            </a:r>
            <a:r>
              <a:rPr lang="de-CH" err="1"/>
              <a:t>use</a:t>
            </a:r>
            <a:r>
              <a:rPr lang="de-CH"/>
              <a:t> «</a:t>
            </a:r>
            <a:r>
              <a:rPr lang="de-CH" err="1"/>
              <a:t>pip</a:t>
            </a:r>
            <a:r>
              <a:rPr lang="de-CH"/>
              <a:t> </a:t>
            </a:r>
            <a:r>
              <a:rPr lang="de-CH" err="1"/>
              <a:t>install</a:t>
            </a:r>
            <a:r>
              <a:rPr lang="de-CH"/>
              <a:t> …»!</a:t>
            </a:r>
            <a:endParaRPr lang="en-GB"/>
          </a:p>
        </p:txBody>
      </p: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A7A640A9-6A34-69B1-FD5F-F61CB2F90C3F}"/>
              </a:ext>
            </a:extLst>
          </p:cNvPr>
          <p:cNvSpPr/>
          <p:nvPr/>
        </p:nvSpPr>
        <p:spPr>
          <a:xfrm flipH="1">
            <a:off x="3585163" y="367978"/>
            <a:ext cx="2432957" cy="1009413"/>
          </a:xfrm>
          <a:prstGeom prst="wedge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/>
              <a:t>Mac: Use the normal terminal</a:t>
            </a:r>
          </a:p>
          <a:p>
            <a:r>
              <a:rPr lang="de-CH"/>
              <a:t>Win: Use the Anaconda CMD</a:t>
            </a:r>
          </a:p>
          <a:p>
            <a:r>
              <a:rPr lang="de-CH"/>
              <a:t>        </a:t>
            </a:r>
            <a:r>
              <a:rPr lang="de-CH" i="1"/>
              <a:t>(normal CMD possible, but </a:t>
            </a:r>
            <a:br>
              <a:rPr lang="de-CH" i="1"/>
            </a:br>
            <a:r>
              <a:rPr lang="de-CH" i="1"/>
              <a:t>         we will not support further)</a:t>
            </a:r>
            <a:endParaRPr lang="en-GB" i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190725-6C5E-42D0-EEA3-C199D42B8873}"/>
              </a:ext>
            </a:extLst>
          </p:cNvPr>
          <p:cNvSpPr/>
          <p:nvPr/>
        </p:nvSpPr>
        <p:spPr>
          <a:xfrm>
            <a:off x="5971521" y="3533946"/>
            <a:ext cx="2169502" cy="26221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EB6413-A58C-29B3-567C-414CB671A9C2}"/>
              </a:ext>
            </a:extLst>
          </p:cNvPr>
          <p:cNvSpPr/>
          <p:nvPr/>
        </p:nvSpPr>
        <p:spPr>
          <a:xfrm>
            <a:off x="925353" y="2805608"/>
            <a:ext cx="2222108" cy="97433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/>
              <a:t>Note all your </a:t>
            </a:r>
            <a:r>
              <a:rPr lang="de-CH" err="1"/>
              <a:t>installed</a:t>
            </a:r>
            <a:r>
              <a:rPr lang="de-CH"/>
              <a:t> </a:t>
            </a:r>
            <a:r>
              <a:rPr lang="de-CH" err="1"/>
              <a:t>packages</a:t>
            </a:r>
            <a:r>
              <a:rPr lang="de-CH"/>
              <a:t> in a </a:t>
            </a:r>
            <a:r>
              <a:rPr lang="de-CH" err="1"/>
              <a:t>file</a:t>
            </a:r>
            <a:r>
              <a:rPr lang="de-CH"/>
              <a:t> </a:t>
            </a:r>
            <a:r>
              <a:rPr lang="de-CH" err="1"/>
              <a:t>called</a:t>
            </a:r>
            <a:r>
              <a:rPr lang="de-CH"/>
              <a:t>: </a:t>
            </a:r>
            <a:r>
              <a:rPr lang="de-CH" b="1"/>
              <a:t>requirements.txt  </a:t>
            </a:r>
            <a:r>
              <a:rPr lang="de-CH"/>
              <a:t>e.g.</a:t>
            </a:r>
          </a:p>
          <a:p>
            <a:pPr algn="ctr"/>
            <a:r>
              <a:rPr lang="de-CH" err="1"/>
              <a:t>streamli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588199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DB3436-ED48-75F7-EFC8-D81AEA02D0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DF72C1-C663-3FA3-FACB-98369A161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’s Menu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C104DD-55A5-D5D7-68B1-A81097757D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4" y="1276350"/>
            <a:ext cx="5415949" cy="3203575"/>
          </a:xfrm>
        </p:spPr>
        <p:txBody>
          <a:bodyPr/>
          <a:lstStyle/>
          <a:p>
            <a:r>
              <a:rPr lang="en-US"/>
              <a:t>Discussion of assignment 4 and the respective quiz </a:t>
            </a:r>
          </a:p>
          <a:p>
            <a:r>
              <a:rPr lang="en-US"/>
              <a:t>More details about this semester’s group project</a:t>
            </a:r>
          </a:p>
          <a:p>
            <a:r>
              <a:rPr lang="en-US"/>
              <a:t>Brief summary of skills necessary to solve assignment 5</a:t>
            </a:r>
          </a:p>
          <a:p>
            <a:r>
              <a:rPr lang="en-US"/>
              <a:t>Working on assignment 5</a:t>
            </a:r>
          </a:p>
        </p:txBody>
      </p:sp>
    </p:spTree>
    <p:extLst>
      <p:ext uri="{BB962C8B-B14F-4D97-AF65-F5344CB8AC3E}">
        <p14:creationId xmlns:p14="http://schemas.microsoft.com/office/powerpoint/2010/main" val="25174753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treamlit</a:t>
            </a:r>
            <a:r>
              <a:rPr lang="en-US"/>
              <a:t> – step-by-ste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5CBB9D-C18A-80C2-472E-1C084050581B}"/>
              </a:ext>
            </a:extLst>
          </p:cNvPr>
          <p:cNvSpPr/>
          <p:nvPr/>
        </p:nvSpPr>
        <p:spPr>
          <a:xfrm>
            <a:off x="900334" y="1300022"/>
            <a:ext cx="2272146" cy="3307814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/>
              <a:t>Try </a:t>
            </a:r>
            <a:r>
              <a:rPr lang="de-CH" b="1" err="1"/>
              <a:t>streamlit</a:t>
            </a:r>
            <a:r>
              <a:rPr lang="de-CH" b="1"/>
              <a:t> example</a:t>
            </a:r>
            <a:endParaRPr lang="LID4096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6A0F4A3-2DF2-CB77-24B2-D587D564FDAF}"/>
              </a:ext>
            </a:extLst>
          </p:cNvPr>
          <p:cNvSpPr>
            <a:spLocks noChangeAspect="1"/>
          </p:cNvSpPr>
          <p:nvPr/>
        </p:nvSpPr>
        <p:spPr>
          <a:xfrm>
            <a:off x="704147" y="1104042"/>
            <a:ext cx="392374" cy="39196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tx1"/>
                </a:solidFill>
              </a:rPr>
              <a:t>3</a:t>
            </a:r>
            <a:endParaRPr lang="LID4096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2B4C01-FD5A-438C-6A94-20387C35A4B6}"/>
              </a:ext>
            </a:extLst>
          </p:cNvPr>
          <p:cNvSpPr/>
          <p:nvPr/>
        </p:nvSpPr>
        <p:spPr>
          <a:xfrm>
            <a:off x="900334" y="2766870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 err="1"/>
              <a:t>Navigate</a:t>
            </a:r>
            <a:r>
              <a:rPr lang="de-CH" b="1"/>
              <a:t> to </a:t>
            </a:r>
            <a:r>
              <a:rPr lang="de-CH" b="1" err="1"/>
              <a:t>the</a:t>
            </a:r>
            <a:r>
              <a:rPr lang="de-CH" b="1"/>
              <a:t> </a:t>
            </a:r>
            <a:r>
              <a:rPr lang="de-CH" b="1" err="1"/>
              <a:t>lecture</a:t>
            </a:r>
            <a:r>
              <a:rPr lang="de-CH" b="1"/>
              <a:t> </a:t>
            </a:r>
            <a:r>
              <a:rPr lang="de-CH" b="1" err="1"/>
              <a:t>examples</a:t>
            </a:r>
            <a:r>
              <a:rPr lang="de-CH" b="1"/>
              <a:t> and </a:t>
            </a:r>
            <a:r>
              <a:rPr lang="de-CH" b="1" err="1"/>
              <a:t>try</a:t>
            </a:r>
            <a:r>
              <a:rPr lang="de-CH" b="1"/>
              <a:t> those</a:t>
            </a:r>
            <a:endParaRPr lang="LID4096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95DC1B-CCD7-5807-6A6C-71C07AE9CD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2800" y="1300022"/>
            <a:ext cx="3438550" cy="21907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9F14B6-8F29-4215-200E-BE3B89CC6463}"/>
              </a:ext>
            </a:extLst>
          </p:cNvPr>
          <p:cNvSpPr txBox="1"/>
          <p:nvPr/>
        </p:nvSpPr>
        <p:spPr>
          <a:xfrm>
            <a:off x="3368667" y="1682428"/>
            <a:ext cx="5106270" cy="5078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de-CH" err="1"/>
              <a:t>When</a:t>
            </a:r>
            <a:r>
              <a:rPr lang="de-CH"/>
              <a:t> </a:t>
            </a:r>
            <a:r>
              <a:rPr lang="de-CH" err="1"/>
              <a:t>asked</a:t>
            </a:r>
            <a:r>
              <a:rPr lang="de-CH"/>
              <a:t> </a:t>
            </a:r>
            <a:r>
              <a:rPr lang="de-CH" err="1"/>
              <a:t>for</a:t>
            </a:r>
            <a:r>
              <a:rPr lang="de-CH"/>
              <a:t> email, just </a:t>
            </a:r>
            <a:r>
              <a:rPr lang="de-CH" err="1"/>
              <a:t>hit</a:t>
            </a:r>
            <a:r>
              <a:rPr lang="de-CH"/>
              <a:t> "</a:t>
            </a:r>
            <a:r>
              <a:rPr lang="de-CH" err="1"/>
              <a:t>enter</a:t>
            </a:r>
            <a:r>
              <a:rPr lang="de-CH"/>
              <a:t>" </a:t>
            </a:r>
            <a:r>
              <a:rPr lang="de-CH">
                <a:sym typeface="Wingdings" panose="05000000000000000000" pitchFamily="2" charset="2"/>
              </a:rPr>
              <a:t> </a:t>
            </a:r>
            <a:r>
              <a:rPr lang="de-CH" b="1" err="1">
                <a:sym typeface="Wingdings" panose="05000000000000000000" pitchFamily="2" charset="2"/>
              </a:rPr>
              <a:t>should</a:t>
            </a:r>
            <a:r>
              <a:rPr lang="de-CH" b="1">
                <a:sym typeface="Wingdings" panose="05000000000000000000" pitchFamily="2" charset="2"/>
              </a:rPr>
              <a:t> open in Browser!</a:t>
            </a:r>
          </a:p>
          <a:p>
            <a:r>
              <a:rPr lang="de-CH" err="1">
                <a:solidFill>
                  <a:srgbClr val="FF0000"/>
                </a:solidFill>
                <a:sym typeface="Wingdings" panose="05000000000000000000" pitchFamily="2" charset="2"/>
              </a:rPr>
              <a:t>Stop</a:t>
            </a:r>
            <a:r>
              <a:rPr lang="de-CH">
                <a:solidFill>
                  <a:srgbClr val="FF0000"/>
                </a:solidFill>
                <a:sym typeface="Wingdings" panose="05000000000000000000" pitchFamily="2" charset="2"/>
              </a:rPr>
              <a:t> </a:t>
            </a:r>
            <a:r>
              <a:rPr lang="de-CH" err="1">
                <a:solidFill>
                  <a:srgbClr val="FF0000"/>
                </a:solidFill>
                <a:sym typeface="Wingdings" panose="05000000000000000000" pitchFamily="2" charset="2"/>
              </a:rPr>
              <a:t>execution</a:t>
            </a:r>
            <a:r>
              <a:rPr lang="de-CH">
                <a:solidFill>
                  <a:srgbClr val="FF0000"/>
                </a:solidFill>
                <a:sym typeface="Wingdings" panose="05000000000000000000" pitchFamily="2" charset="2"/>
              </a:rPr>
              <a:t> </a:t>
            </a:r>
            <a:r>
              <a:rPr lang="de-CH" err="1">
                <a:solidFill>
                  <a:srgbClr val="FF0000"/>
                </a:solidFill>
                <a:sym typeface="Wingdings" panose="05000000000000000000" pitchFamily="2" charset="2"/>
              </a:rPr>
              <a:t>of</a:t>
            </a:r>
            <a:r>
              <a:rPr lang="de-CH">
                <a:solidFill>
                  <a:srgbClr val="FF0000"/>
                </a:solidFill>
                <a:sym typeface="Wingdings" panose="05000000000000000000" pitchFamily="2" charset="2"/>
              </a:rPr>
              <a:t> a Python </a:t>
            </a:r>
            <a:r>
              <a:rPr lang="de-CH" err="1">
                <a:solidFill>
                  <a:srgbClr val="FF0000"/>
                </a:solidFill>
                <a:sym typeface="Wingdings" panose="05000000000000000000" pitchFamily="2" charset="2"/>
              </a:rPr>
              <a:t>program</a:t>
            </a:r>
            <a:r>
              <a:rPr lang="de-CH">
                <a:solidFill>
                  <a:srgbClr val="FF0000"/>
                </a:solidFill>
                <a:sym typeface="Wingdings" panose="05000000000000000000" pitchFamily="2" charset="2"/>
              </a:rPr>
              <a:t> </a:t>
            </a:r>
            <a:r>
              <a:rPr lang="de-CH" err="1">
                <a:solidFill>
                  <a:srgbClr val="FF0000"/>
                </a:solidFill>
                <a:sym typeface="Wingdings" panose="05000000000000000000" pitchFamily="2" charset="2"/>
              </a:rPr>
              <a:t>with</a:t>
            </a:r>
            <a:r>
              <a:rPr lang="de-CH">
                <a:solidFill>
                  <a:srgbClr val="FF0000"/>
                </a:solidFill>
                <a:sym typeface="Wingdings" panose="05000000000000000000" pitchFamily="2" charset="2"/>
              </a:rPr>
              <a:t> </a:t>
            </a:r>
            <a:r>
              <a:rPr lang="de-CH" b="1">
                <a:solidFill>
                  <a:srgbClr val="FF0000"/>
                </a:solidFill>
                <a:sym typeface="Wingdings" panose="05000000000000000000" pitchFamily="2" charset="2"/>
              </a:rPr>
              <a:t>CTRL+C.</a:t>
            </a:r>
            <a:endParaRPr lang="de-CH" b="1">
              <a:solidFill>
                <a:srgbClr val="FF000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137E58-5F25-F5BF-F297-349BB9FE430D}"/>
              </a:ext>
            </a:extLst>
          </p:cNvPr>
          <p:cNvSpPr txBox="1"/>
          <p:nvPr/>
        </p:nvSpPr>
        <p:spPr>
          <a:xfrm>
            <a:off x="3385432" y="2353588"/>
            <a:ext cx="5236054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err="1"/>
              <a:t>Overview</a:t>
            </a:r>
            <a:r>
              <a:rPr lang="de-CH"/>
              <a:t> of </a:t>
            </a:r>
            <a:r>
              <a:rPr lang="de-CH" err="1"/>
              <a:t>current</a:t>
            </a:r>
            <a:r>
              <a:rPr lang="de-CH"/>
              <a:t> </a:t>
            </a:r>
            <a:r>
              <a:rPr lang="de-CH" err="1"/>
              <a:t>folder</a:t>
            </a:r>
            <a:r>
              <a:rPr lang="de-CH"/>
              <a:t> with </a:t>
            </a:r>
            <a:r>
              <a:rPr lang="de-CH" b="1">
                <a:solidFill>
                  <a:srgbClr val="FF0000"/>
                </a:solidFill>
              </a:rPr>
              <a:t>dir</a:t>
            </a:r>
            <a:r>
              <a:rPr lang="de-CH"/>
              <a:t> (Mac: </a:t>
            </a:r>
            <a:r>
              <a:rPr lang="de-CH" err="1"/>
              <a:t>use</a:t>
            </a:r>
            <a:r>
              <a:rPr lang="de-CH"/>
              <a:t> </a:t>
            </a:r>
            <a:r>
              <a:rPr lang="de-CH" b="1" err="1">
                <a:solidFill>
                  <a:srgbClr val="FF0000"/>
                </a:solidFill>
              </a:rPr>
              <a:t>ls</a:t>
            </a:r>
            <a:r>
              <a:rPr lang="de-CH"/>
              <a:t>)  </a:t>
            </a:r>
          </a:p>
          <a:p>
            <a:endParaRPr lang="de-CH"/>
          </a:p>
          <a:p>
            <a:r>
              <a:rPr lang="de-CH" err="1"/>
              <a:t>Navigate</a:t>
            </a:r>
            <a:r>
              <a:rPr lang="de-CH"/>
              <a:t> to </a:t>
            </a:r>
            <a:r>
              <a:rPr lang="de-CH" err="1"/>
              <a:t>subfolder</a:t>
            </a:r>
            <a:r>
              <a:rPr lang="de-CH"/>
              <a:t> with </a:t>
            </a:r>
            <a:r>
              <a:rPr lang="de-CH" b="1">
                <a:solidFill>
                  <a:srgbClr val="FF0000"/>
                </a:solidFill>
              </a:rPr>
              <a:t>cd </a:t>
            </a:r>
            <a:r>
              <a:rPr lang="de-CH" err="1">
                <a:solidFill>
                  <a:srgbClr val="FF0000"/>
                </a:solidFill>
              </a:rPr>
              <a:t>subfolderName</a:t>
            </a:r>
            <a:r>
              <a:rPr lang="de-CH">
                <a:solidFill>
                  <a:srgbClr val="FF0000"/>
                </a:solidFill>
              </a:rPr>
              <a:t> </a:t>
            </a:r>
            <a:r>
              <a:rPr lang="de-CH"/>
              <a:t>(</a:t>
            </a:r>
            <a:r>
              <a:rPr lang="de-CH" i="1" err="1"/>
              <a:t>start</a:t>
            </a:r>
            <a:r>
              <a:rPr lang="de-CH" i="1"/>
              <a:t> </a:t>
            </a:r>
            <a:r>
              <a:rPr lang="de-CH" i="1" err="1"/>
              <a:t>typing</a:t>
            </a:r>
            <a:r>
              <a:rPr lang="de-CH" i="1"/>
              <a:t> &amp; </a:t>
            </a:r>
            <a:r>
              <a:rPr lang="de-CH" i="1" err="1"/>
              <a:t>hit</a:t>
            </a:r>
            <a:r>
              <a:rPr lang="de-CH" i="1"/>
              <a:t> TAB</a:t>
            </a:r>
            <a:r>
              <a:rPr lang="de-CH"/>
              <a:t>)</a:t>
            </a:r>
            <a:endParaRPr lang="de-CH">
              <a:solidFill>
                <a:srgbClr val="FF0000"/>
              </a:solidFill>
            </a:endParaRPr>
          </a:p>
          <a:p>
            <a:r>
              <a:rPr lang="de-CH" err="1"/>
              <a:t>Navigate</a:t>
            </a:r>
            <a:r>
              <a:rPr lang="de-CH"/>
              <a:t> one </a:t>
            </a:r>
            <a:r>
              <a:rPr lang="de-CH" err="1"/>
              <a:t>folder</a:t>
            </a:r>
            <a:r>
              <a:rPr lang="de-CH"/>
              <a:t> </a:t>
            </a:r>
            <a:r>
              <a:rPr lang="de-CH" err="1"/>
              <a:t>up</a:t>
            </a:r>
            <a:r>
              <a:rPr lang="de-CH"/>
              <a:t> with </a:t>
            </a:r>
            <a:r>
              <a:rPr lang="de-CH" b="1">
                <a:solidFill>
                  <a:srgbClr val="FF0000"/>
                </a:solidFill>
              </a:rPr>
              <a:t>cd </a:t>
            </a:r>
            <a:r>
              <a:rPr lang="de-CH">
                <a:solidFill>
                  <a:srgbClr val="FF0000"/>
                </a:solidFill>
              </a:rPr>
              <a:t>..</a:t>
            </a:r>
          </a:p>
          <a:p>
            <a:r>
              <a:rPr lang="de-CH" i="1"/>
              <a:t>Repeat last </a:t>
            </a:r>
            <a:r>
              <a:rPr lang="de-CH" i="1" err="1"/>
              <a:t>command</a:t>
            </a:r>
            <a:r>
              <a:rPr lang="de-CH" i="1"/>
              <a:t> with UP / DOWN</a:t>
            </a:r>
            <a:endParaRPr lang="de-CH">
              <a:solidFill>
                <a:srgbClr val="FF0000"/>
              </a:solidFill>
            </a:endParaRPr>
          </a:p>
          <a:p>
            <a:endParaRPr lang="de-CH">
              <a:solidFill>
                <a:srgbClr val="FF0000"/>
              </a:solidFill>
            </a:endParaRPr>
          </a:p>
          <a:p>
            <a:r>
              <a:rPr lang="de-CH" err="1"/>
              <a:t>Navigate</a:t>
            </a:r>
            <a:r>
              <a:rPr lang="de-CH"/>
              <a:t> to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lecture</a:t>
            </a:r>
            <a:r>
              <a:rPr lang="de-CH"/>
              <a:t> example and </a:t>
            </a:r>
            <a:r>
              <a:rPr lang="de-CH" err="1"/>
              <a:t>execute</a:t>
            </a:r>
            <a:r>
              <a:rPr lang="de-CH"/>
              <a:t> </a:t>
            </a:r>
            <a:r>
              <a:rPr lang="de-CH" err="1"/>
              <a:t>it</a:t>
            </a:r>
            <a:r>
              <a:rPr lang="de-CH"/>
              <a:t> with </a:t>
            </a:r>
            <a:r>
              <a:rPr lang="de-CH" b="1" err="1">
                <a:solidFill>
                  <a:srgbClr val="FF0000"/>
                </a:solidFill>
              </a:rPr>
              <a:t>streamlit</a:t>
            </a:r>
            <a:r>
              <a:rPr lang="de-CH" b="1">
                <a:solidFill>
                  <a:srgbClr val="FF0000"/>
                </a:solidFill>
              </a:rPr>
              <a:t> </a:t>
            </a:r>
            <a:r>
              <a:rPr lang="de-CH" b="1" err="1">
                <a:solidFill>
                  <a:srgbClr val="FF0000"/>
                </a:solidFill>
              </a:rPr>
              <a:t>run</a:t>
            </a:r>
            <a:r>
              <a:rPr lang="de-CH" b="1">
                <a:solidFill>
                  <a:srgbClr val="FF0000"/>
                </a:solidFill>
              </a:rPr>
              <a:t> </a:t>
            </a:r>
            <a:r>
              <a:rPr lang="de-CH">
                <a:solidFill>
                  <a:srgbClr val="FF0000"/>
                </a:solidFill>
              </a:rPr>
              <a:t>…</a:t>
            </a:r>
          </a:p>
          <a:p>
            <a:endParaRPr lang="de-CH" i="1"/>
          </a:p>
          <a:p>
            <a:endParaRPr lang="de-CH"/>
          </a:p>
          <a:p>
            <a:endParaRPr lang="en-GB">
              <a:solidFill>
                <a:srgbClr val="FF0000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26A7943-620E-7953-52BF-E0A47A8A31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2801" y="3908650"/>
            <a:ext cx="4990530" cy="21981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9CC7418-7CDD-B4B5-55B4-70AB164025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2800" y="4206100"/>
            <a:ext cx="5332425" cy="21981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764DA6A-26E8-83A7-B5C0-229353AEF56B}"/>
              </a:ext>
            </a:extLst>
          </p:cNvPr>
          <p:cNvSpPr txBox="1"/>
          <p:nvPr/>
        </p:nvSpPr>
        <p:spPr>
          <a:xfrm>
            <a:off x="3385432" y="4441802"/>
            <a:ext cx="429797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100" i="1" u="sng"/>
              <a:t>Note</a:t>
            </a:r>
            <a:r>
              <a:rPr lang="de-CH" sz="1100" i="1"/>
              <a:t>: You could also </a:t>
            </a:r>
            <a:r>
              <a:rPr lang="de-CH" sz="1100" i="1" err="1"/>
              <a:t>execute</a:t>
            </a:r>
            <a:r>
              <a:rPr lang="de-CH" sz="1100" i="1"/>
              <a:t> </a:t>
            </a:r>
            <a:r>
              <a:rPr lang="de-CH" sz="1100" i="1" err="1"/>
              <a:t>it</a:t>
            </a:r>
            <a:r>
              <a:rPr lang="de-CH" sz="1100" i="1"/>
              <a:t> with </a:t>
            </a:r>
            <a:r>
              <a:rPr lang="de-CH" sz="1100" i="1" err="1"/>
              <a:t>full</a:t>
            </a:r>
            <a:r>
              <a:rPr lang="de-CH" sz="1100" i="1"/>
              <a:t> </a:t>
            </a:r>
            <a:r>
              <a:rPr lang="de-CH" sz="1100" i="1" err="1"/>
              <a:t>path</a:t>
            </a:r>
            <a:r>
              <a:rPr lang="de-CH" sz="1100" i="1"/>
              <a:t> (</a:t>
            </a:r>
            <a:r>
              <a:rPr lang="de-CH" sz="1100" i="1" err="1"/>
              <a:t>starting</a:t>
            </a:r>
            <a:r>
              <a:rPr lang="de-CH" sz="1100" i="1"/>
              <a:t> </a:t>
            </a:r>
            <a:r>
              <a:rPr lang="de-CH" sz="1100" i="1" err="1"/>
              <a:t>from</a:t>
            </a:r>
            <a:r>
              <a:rPr lang="de-CH" sz="1100" i="1"/>
              <a:t> </a:t>
            </a:r>
            <a:r>
              <a:rPr lang="de-CH" sz="1100" i="1" err="1"/>
              <a:t>current</a:t>
            </a:r>
            <a:r>
              <a:rPr lang="de-CH" sz="1100" i="1"/>
              <a:t> </a:t>
            </a:r>
            <a:r>
              <a:rPr lang="de-CH" sz="1100" i="1" err="1"/>
              <a:t>location</a:t>
            </a:r>
            <a:r>
              <a:rPr lang="de-CH" sz="1100" i="1"/>
              <a:t>)</a:t>
            </a:r>
            <a:endParaRPr lang="en-GB" sz="1100" i="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95A6DB-D1D9-E19E-65D4-17FA6A89FAB4}"/>
              </a:ext>
            </a:extLst>
          </p:cNvPr>
          <p:cNvSpPr/>
          <p:nvPr/>
        </p:nvSpPr>
        <p:spPr>
          <a:xfrm>
            <a:off x="6523264" y="179205"/>
            <a:ext cx="2432957" cy="940817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/>
              <a:t>GOAL) </a:t>
            </a:r>
            <a:r>
              <a:rPr lang="de-CH"/>
              <a:t>You </a:t>
            </a:r>
            <a:r>
              <a:rPr lang="de-CH" err="1"/>
              <a:t>can</a:t>
            </a:r>
            <a:r>
              <a:rPr lang="de-CH"/>
              <a:t>:</a:t>
            </a:r>
          </a:p>
          <a:p>
            <a:pPr algn="ctr"/>
            <a:r>
              <a:rPr lang="en-GB"/>
              <a:t>1) navigate in CMD</a:t>
            </a:r>
            <a:endParaRPr lang="de-CH"/>
          </a:p>
          <a:p>
            <a:pPr algn="ctr"/>
            <a:r>
              <a:rPr lang="de-CH"/>
              <a:t>2) </a:t>
            </a:r>
            <a:r>
              <a:rPr lang="de-CH" err="1"/>
              <a:t>run</a:t>
            </a:r>
            <a:r>
              <a:rPr lang="de-CH"/>
              <a:t> «</a:t>
            </a:r>
            <a:r>
              <a:rPr lang="de-CH" err="1"/>
              <a:t>streamlit</a:t>
            </a:r>
            <a:r>
              <a:rPr lang="de-CH"/>
              <a:t> </a:t>
            </a:r>
            <a:r>
              <a:rPr lang="de-CH" err="1"/>
              <a:t>hello</a:t>
            </a:r>
            <a:r>
              <a:rPr lang="de-CH"/>
              <a:t>»</a:t>
            </a:r>
          </a:p>
          <a:p>
            <a:pPr algn="ctr"/>
            <a:r>
              <a:rPr lang="en-GB"/>
              <a:t>3) run a .</a:t>
            </a:r>
            <a:r>
              <a:rPr lang="en-GB" err="1"/>
              <a:t>py</a:t>
            </a:r>
            <a:r>
              <a:rPr lang="en-GB"/>
              <a:t> file with </a:t>
            </a:r>
            <a:r>
              <a:rPr lang="de-CH" err="1"/>
              <a:t>streamlit</a:t>
            </a:r>
            <a:endParaRPr lang="de-CH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F464A8-2449-DC25-138E-32EA8DE27A02}"/>
              </a:ext>
            </a:extLst>
          </p:cNvPr>
          <p:cNvSpPr/>
          <p:nvPr/>
        </p:nvSpPr>
        <p:spPr>
          <a:xfrm>
            <a:off x="5438513" y="1299241"/>
            <a:ext cx="1452837" cy="23309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28A8FFD-9BFE-41C1-B781-584EEB903BEE}"/>
              </a:ext>
            </a:extLst>
          </p:cNvPr>
          <p:cNvSpPr/>
          <p:nvPr/>
        </p:nvSpPr>
        <p:spPr>
          <a:xfrm>
            <a:off x="5948066" y="3908650"/>
            <a:ext cx="2837159" cy="51726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57469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treamlit</a:t>
            </a:r>
            <a:r>
              <a:rPr lang="en-US"/>
              <a:t> – step-by-ste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1</a:t>
            </a:fld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5CBB9D-C18A-80C2-472E-1C084050581B}"/>
              </a:ext>
            </a:extLst>
          </p:cNvPr>
          <p:cNvSpPr/>
          <p:nvPr/>
        </p:nvSpPr>
        <p:spPr>
          <a:xfrm>
            <a:off x="900334" y="1300022"/>
            <a:ext cx="2272146" cy="3307814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/>
              <a:t>Open your </a:t>
            </a:r>
            <a:r>
              <a:rPr lang="de-CH" b="1" err="1"/>
              <a:t>text</a:t>
            </a:r>
            <a:r>
              <a:rPr lang="de-CH" b="1"/>
              <a:t> </a:t>
            </a:r>
            <a:r>
              <a:rPr lang="de-CH" b="1" err="1"/>
              <a:t>editor</a:t>
            </a:r>
            <a:endParaRPr lang="LID4096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6A0F4A3-2DF2-CB77-24B2-D587D564FDAF}"/>
              </a:ext>
            </a:extLst>
          </p:cNvPr>
          <p:cNvSpPr>
            <a:spLocks noChangeAspect="1"/>
          </p:cNvSpPr>
          <p:nvPr/>
        </p:nvSpPr>
        <p:spPr>
          <a:xfrm>
            <a:off x="704147" y="1104042"/>
            <a:ext cx="392374" cy="39196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tx1"/>
                </a:solidFill>
              </a:rPr>
              <a:t>4</a:t>
            </a:r>
            <a:endParaRPr lang="LID4096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2B4C01-FD5A-438C-6A94-20387C35A4B6}"/>
              </a:ext>
            </a:extLst>
          </p:cNvPr>
          <p:cNvSpPr/>
          <p:nvPr/>
        </p:nvSpPr>
        <p:spPr>
          <a:xfrm>
            <a:off x="900334" y="2766870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52E146F-D2D5-3FAB-1EF6-22A13C2914C5}"/>
              </a:ext>
            </a:extLst>
          </p:cNvPr>
          <p:cNvSpPr/>
          <p:nvPr/>
        </p:nvSpPr>
        <p:spPr>
          <a:xfrm>
            <a:off x="900334" y="2909407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/>
              <a:t>Store your </a:t>
            </a:r>
            <a:r>
              <a:rPr lang="de-CH" b="1" err="1"/>
              <a:t>text</a:t>
            </a:r>
            <a:r>
              <a:rPr lang="de-CH" b="1"/>
              <a:t> </a:t>
            </a:r>
            <a:r>
              <a:rPr lang="de-CH" b="1" err="1"/>
              <a:t>file</a:t>
            </a:r>
            <a:r>
              <a:rPr lang="de-CH" b="1"/>
              <a:t> with </a:t>
            </a:r>
            <a:r>
              <a:rPr lang="de-CH" b="1" err="1"/>
              <a:t>the</a:t>
            </a:r>
            <a:r>
              <a:rPr lang="de-CH" b="1"/>
              <a:t> .</a:t>
            </a:r>
            <a:r>
              <a:rPr lang="de-CH" b="1" err="1"/>
              <a:t>py</a:t>
            </a:r>
            <a:r>
              <a:rPr lang="de-CH" b="1"/>
              <a:t> </a:t>
            </a:r>
            <a:r>
              <a:rPr lang="de-CH" b="1" err="1"/>
              <a:t>extension</a:t>
            </a:r>
            <a:endParaRPr lang="LID4096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4836B6-16F4-865B-475A-09F5EC9F56A0}"/>
              </a:ext>
            </a:extLst>
          </p:cNvPr>
          <p:cNvSpPr/>
          <p:nvPr/>
        </p:nvSpPr>
        <p:spPr>
          <a:xfrm>
            <a:off x="900334" y="4195693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/>
              <a:t>Try a </a:t>
            </a:r>
            <a:r>
              <a:rPr lang="de-CH" b="1" err="1"/>
              <a:t>basic</a:t>
            </a:r>
            <a:r>
              <a:rPr lang="de-CH" b="1"/>
              <a:t> «Hello World» </a:t>
            </a:r>
            <a:r>
              <a:rPr lang="de-CH" b="1" err="1"/>
              <a:t>file</a:t>
            </a:r>
            <a:endParaRPr lang="LID4096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1AA93A9-BF2F-A96E-5704-E35C0E7FC1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6012" y="2491522"/>
            <a:ext cx="3238524" cy="50006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9B2EB1E-BCA5-0C4F-6E31-169B0FE62A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6012" y="3779835"/>
            <a:ext cx="4924461" cy="82391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EE5DFD5-6E52-15F5-AA1C-AEC6CCECFD08}"/>
              </a:ext>
            </a:extLst>
          </p:cNvPr>
          <p:cNvSpPr/>
          <p:nvPr/>
        </p:nvSpPr>
        <p:spPr>
          <a:xfrm>
            <a:off x="5713771" y="2517436"/>
            <a:ext cx="1074833" cy="18683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CEF2F0-E1E5-AC3F-8623-5E68F09840ED}"/>
              </a:ext>
            </a:extLst>
          </p:cNvPr>
          <p:cNvSpPr/>
          <p:nvPr/>
        </p:nvSpPr>
        <p:spPr>
          <a:xfrm>
            <a:off x="6523264" y="179206"/>
            <a:ext cx="2432957" cy="72780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/>
              <a:t>GOAL) </a:t>
            </a:r>
            <a:r>
              <a:rPr lang="de-CH"/>
              <a:t>You </a:t>
            </a:r>
            <a:r>
              <a:rPr lang="de-CH" err="1"/>
              <a:t>can</a:t>
            </a:r>
            <a:r>
              <a:rPr lang="de-CH"/>
              <a:t>:</a:t>
            </a:r>
          </a:p>
          <a:p>
            <a:pPr algn="ctr"/>
            <a:r>
              <a:rPr lang="de-CH"/>
              <a:t>1) </a:t>
            </a:r>
            <a:r>
              <a:rPr lang="de-CH" err="1"/>
              <a:t>create</a:t>
            </a:r>
            <a:r>
              <a:rPr lang="de-CH"/>
              <a:t> your own .</a:t>
            </a:r>
            <a:r>
              <a:rPr lang="de-CH" err="1"/>
              <a:t>py</a:t>
            </a:r>
            <a:r>
              <a:rPr lang="de-CH"/>
              <a:t> </a:t>
            </a:r>
            <a:r>
              <a:rPr lang="de-CH" err="1"/>
              <a:t>file</a:t>
            </a:r>
            <a:endParaRPr lang="de-CH"/>
          </a:p>
          <a:p>
            <a:pPr algn="ctr"/>
            <a:r>
              <a:rPr lang="de-CH"/>
              <a:t>2) </a:t>
            </a:r>
            <a:r>
              <a:rPr lang="de-CH" err="1"/>
              <a:t>run</a:t>
            </a:r>
            <a:r>
              <a:rPr lang="de-CH"/>
              <a:t> your own .</a:t>
            </a:r>
            <a:r>
              <a:rPr lang="de-CH" err="1"/>
              <a:t>py</a:t>
            </a:r>
            <a:r>
              <a:rPr lang="de-CH"/>
              <a:t> </a:t>
            </a:r>
            <a:r>
              <a:rPr lang="de-CH" err="1"/>
              <a:t>file</a:t>
            </a:r>
            <a:r>
              <a:rPr lang="de-CH"/>
              <a:t> in CMD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E73EE20-8529-5BD0-F27D-9F52579389C8}"/>
              </a:ext>
            </a:extLst>
          </p:cNvPr>
          <p:cNvSpPr txBox="1"/>
          <p:nvPr/>
        </p:nvSpPr>
        <p:spPr>
          <a:xfrm>
            <a:off x="3562341" y="3441029"/>
            <a:ext cx="489722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err="1"/>
              <a:t>Depending</a:t>
            </a:r>
            <a:r>
              <a:rPr lang="de-CH"/>
              <a:t> on your </a:t>
            </a:r>
            <a:r>
              <a:rPr lang="de-CH" err="1"/>
              <a:t>system</a:t>
            </a:r>
            <a:r>
              <a:rPr lang="de-CH"/>
              <a:t>, you might </a:t>
            </a:r>
            <a:r>
              <a:rPr lang="de-CH" err="1"/>
              <a:t>need</a:t>
            </a:r>
            <a:r>
              <a:rPr lang="de-CH"/>
              <a:t> to </a:t>
            </a:r>
            <a:r>
              <a:rPr lang="de-CH" err="1"/>
              <a:t>use</a:t>
            </a:r>
            <a:r>
              <a:rPr lang="de-CH"/>
              <a:t> </a:t>
            </a:r>
            <a:r>
              <a:rPr lang="de-CH" b="1">
                <a:solidFill>
                  <a:srgbClr val="FF0000"/>
                </a:solidFill>
              </a:rPr>
              <a:t>python3</a:t>
            </a:r>
            <a:endParaRPr lang="en-GB" b="1">
              <a:solidFill>
                <a:srgbClr val="FF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C11EE7-8384-93AD-1321-09F0F52B2746}"/>
              </a:ext>
            </a:extLst>
          </p:cNvPr>
          <p:cNvSpPr/>
          <p:nvPr/>
        </p:nvSpPr>
        <p:spPr>
          <a:xfrm>
            <a:off x="6531428" y="3806083"/>
            <a:ext cx="2008415" cy="23309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7663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treamlit</a:t>
            </a:r>
            <a:r>
              <a:rPr lang="en-US"/>
              <a:t> – step-by-ste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2</a:t>
            </a:fld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5CBB9D-C18A-80C2-472E-1C084050581B}"/>
              </a:ext>
            </a:extLst>
          </p:cNvPr>
          <p:cNvSpPr/>
          <p:nvPr/>
        </p:nvSpPr>
        <p:spPr>
          <a:xfrm>
            <a:off x="900334" y="1300022"/>
            <a:ext cx="2272146" cy="3307814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/>
              <a:t>Play </a:t>
            </a:r>
            <a:r>
              <a:rPr lang="de-CH" b="1" err="1"/>
              <a:t>around</a:t>
            </a:r>
            <a:r>
              <a:rPr lang="de-CH" b="1"/>
              <a:t> with </a:t>
            </a:r>
            <a:r>
              <a:rPr lang="de-CH" b="1" err="1"/>
              <a:t>streamlit</a:t>
            </a:r>
            <a:endParaRPr lang="LID4096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6A0F4A3-2DF2-CB77-24B2-D587D564FDAF}"/>
              </a:ext>
            </a:extLst>
          </p:cNvPr>
          <p:cNvSpPr>
            <a:spLocks noChangeAspect="1"/>
          </p:cNvSpPr>
          <p:nvPr/>
        </p:nvSpPr>
        <p:spPr>
          <a:xfrm>
            <a:off x="704147" y="1104042"/>
            <a:ext cx="392374" cy="39196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tx1"/>
                </a:solidFill>
              </a:rPr>
              <a:t>5</a:t>
            </a:r>
            <a:endParaRPr lang="LID4096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2B4C01-FD5A-438C-6A94-20387C35A4B6}"/>
              </a:ext>
            </a:extLst>
          </p:cNvPr>
          <p:cNvSpPr/>
          <p:nvPr/>
        </p:nvSpPr>
        <p:spPr>
          <a:xfrm>
            <a:off x="900334" y="2766870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D2D2AA-5B01-85A6-4E17-BCC0B7E0F4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8838" y="2431818"/>
            <a:ext cx="2473362" cy="217601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52E146F-D2D5-3FAB-1EF6-22A13C2914C5}"/>
              </a:ext>
            </a:extLst>
          </p:cNvPr>
          <p:cNvSpPr/>
          <p:nvPr/>
        </p:nvSpPr>
        <p:spPr>
          <a:xfrm>
            <a:off x="900334" y="2909407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4836B6-16F4-865B-475A-09F5EC9F56A0}"/>
              </a:ext>
            </a:extLst>
          </p:cNvPr>
          <p:cNvSpPr/>
          <p:nvPr/>
        </p:nvSpPr>
        <p:spPr>
          <a:xfrm>
            <a:off x="900334" y="4195693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BC3D1F-0A51-C173-A388-EAC74E426657}"/>
              </a:ext>
            </a:extLst>
          </p:cNvPr>
          <p:cNvSpPr txBox="1"/>
          <p:nvPr/>
        </p:nvSpPr>
        <p:spPr>
          <a:xfrm>
            <a:off x="4490358" y="1300022"/>
            <a:ext cx="4653642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792288" algn="l"/>
              </a:tabLst>
            </a:pPr>
            <a:r>
              <a:rPr lang="de-CH" b="1"/>
              <a:t>Example App:	</a:t>
            </a:r>
            <a:r>
              <a:rPr lang="de-CH" b="1">
                <a:hlinkClick r:id="rId3"/>
              </a:rPr>
              <a:t>https://fcs-intro.streamlit.app/</a:t>
            </a:r>
            <a:endParaRPr lang="de-CH" b="1"/>
          </a:p>
          <a:p>
            <a:pPr marL="1792288" indent="-1792288"/>
            <a:r>
              <a:rPr lang="de-CH" b="1" err="1"/>
              <a:t>Corresponding</a:t>
            </a:r>
            <a:r>
              <a:rPr lang="de-CH" b="1"/>
              <a:t> Code:	</a:t>
            </a:r>
            <a:r>
              <a:rPr lang="de-CH" b="1">
                <a:hlinkClick r:id="rId4"/>
              </a:rPr>
              <a:t>https://github.com/hawk-li/fcs-streamlit-intro/blob/main/app.py</a:t>
            </a:r>
            <a:endParaRPr lang="de-CH" b="1"/>
          </a:p>
          <a:p>
            <a:pPr marL="1792288" indent="-1792288"/>
            <a:r>
              <a:rPr lang="de-CH">
                <a:solidFill>
                  <a:schemeClr val="bg1">
                    <a:lumMod val="65000"/>
                  </a:schemeClr>
                </a:solidFill>
              </a:rPr>
              <a:t>Bonus Example:</a:t>
            </a:r>
            <a:r>
              <a:rPr lang="de-CH"/>
              <a:t>	</a:t>
            </a:r>
            <a:r>
              <a:rPr lang="de-CH">
                <a:hlinkClick r:id="rId5"/>
              </a:rPr>
              <a:t>https://github.com/hawk-li/fcs-streamlit-auto-doc-ipynb/tree/main</a:t>
            </a:r>
            <a:endParaRPr lang="de-CH"/>
          </a:p>
          <a:p>
            <a:pPr marL="1792288" indent="-1792288"/>
            <a:endParaRPr lang="de-CH"/>
          </a:p>
          <a:p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13E77F-E16F-8AD0-3B47-8DB82A6DD50D}"/>
              </a:ext>
            </a:extLst>
          </p:cNvPr>
          <p:cNvSpPr/>
          <p:nvPr/>
        </p:nvSpPr>
        <p:spPr>
          <a:xfrm>
            <a:off x="6523264" y="179205"/>
            <a:ext cx="2432957" cy="940817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/>
              <a:t>Your </a:t>
            </a:r>
            <a:r>
              <a:rPr lang="de-CH" b="1" err="1"/>
              <a:t>task</a:t>
            </a:r>
            <a:r>
              <a:rPr lang="de-CH" b="1"/>
              <a:t> now)</a:t>
            </a:r>
          </a:p>
          <a:p>
            <a:pPr algn="ctr"/>
            <a:r>
              <a:rPr lang="en-GB"/>
              <a:t>1) Learn how </a:t>
            </a:r>
            <a:r>
              <a:rPr lang="en-GB" err="1"/>
              <a:t>streamlit</a:t>
            </a:r>
            <a:r>
              <a:rPr lang="en-GB"/>
              <a:t> works</a:t>
            </a:r>
          </a:p>
          <a:p>
            <a:pPr algn="ctr"/>
            <a:r>
              <a:rPr lang="en-GB"/>
              <a:t>2) </a:t>
            </a:r>
            <a:r>
              <a:rPr lang="de-CH" err="1"/>
              <a:t>create</a:t>
            </a:r>
            <a:r>
              <a:rPr lang="de-CH"/>
              <a:t> own </a:t>
            </a:r>
            <a:r>
              <a:rPr lang="de-CH" err="1"/>
              <a:t>streamlit</a:t>
            </a:r>
            <a:r>
              <a:rPr lang="de-CH"/>
              <a:t> .</a:t>
            </a:r>
            <a:r>
              <a:rPr lang="de-CH" err="1"/>
              <a:t>py</a:t>
            </a:r>
            <a:r>
              <a:rPr lang="de-CH"/>
              <a:t> </a:t>
            </a:r>
            <a:r>
              <a:rPr lang="de-CH" err="1"/>
              <a:t>file</a:t>
            </a:r>
            <a:endParaRPr lang="de-CH"/>
          </a:p>
          <a:p>
            <a:pPr algn="ctr"/>
            <a:r>
              <a:rPr lang="en-GB"/>
              <a:t>3) run own .</a:t>
            </a:r>
            <a:r>
              <a:rPr lang="en-GB" err="1"/>
              <a:t>py</a:t>
            </a:r>
            <a:r>
              <a:rPr lang="en-GB"/>
              <a:t> with </a:t>
            </a:r>
            <a:r>
              <a:rPr lang="de-CH" err="1"/>
              <a:t>streamli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726456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treamlit</a:t>
            </a:r>
            <a:r>
              <a:rPr lang="en-US"/>
              <a:t> – </a:t>
            </a:r>
            <a:r>
              <a:rPr lang="en-US">
                <a:solidFill>
                  <a:srgbClr val="FF0000"/>
                </a:solidFill>
              </a:rPr>
              <a:t>No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3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2B4C01-FD5A-438C-6A94-20387C35A4B6}"/>
              </a:ext>
            </a:extLst>
          </p:cNvPr>
          <p:cNvSpPr/>
          <p:nvPr/>
        </p:nvSpPr>
        <p:spPr>
          <a:xfrm>
            <a:off x="900334" y="2766870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52E146F-D2D5-3FAB-1EF6-22A13C2914C5}"/>
              </a:ext>
            </a:extLst>
          </p:cNvPr>
          <p:cNvSpPr/>
          <p:nvPr/>
        </p:nvSpPr>
        <p:spPr>
          <a:xfrm>
            <a:off x="900334" y="2909407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4836B6-16F4-865B-475A-09F5EC9F56A0}"/>
              </a:ext>
            </a:extLst>
          </p:cNvPr>
          <p:cNvSpPr/>
          <p:nvPr/>
        </p:nvSpPr>
        <p:spPr>
          <a:xfrm>
            <a:off x="900334" y="4195693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14A0C2-FE0B-2DC4-9EA8-0E124EC660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96" r="4692" b="77966"/>
          <a:stretch/>
        </p:blipFill>
        <p:spPr>
          <a:xfrm>
            <a:off x="358775" y="2028339"/>
            <a:ext cx="3053443" cy="59599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CABEB7D-E687-7DE7-CDC1-10ECCC21504C}"/>
              </a:ext>
            </a:extLst>
          </p:cNvPr>
          <p:cNvSpPr txBox="1"/>
          <p:nvPr/>
        </p:nvSpPr>
        <p:spPr>
          <a:xfrm>
            <a:off x="281667" y="921970"/>
            <a:ext cx="828880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/>
              <a:t>You have </a:t>
            </a:r>
            <a:r>
              <a:rPr lang="de-CH" err="1"/>
              <a:t>seen</a:t>
            </a:r>
            <a:r>
              <a:rPr lang="de-CH"/>
              <a:t> last </a:t>
            </a:r>
            <a:r>
              <a:rPr lang="de-CH" err="1"/>
              <a:t>week</a:t>
            </a:r>
            <a:r>
              <a:rPr lang="de-CH"/>
              <a:t>, that </a:t>
            </a:r>
            <a:r>
              <a:rPr lang="de-CH" err="1"/>
              <a:t>it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possible to code, </a:t>
            </a:r>
            <a:r>
              <a:rPr lang="de-CH" err="1"/>
              <a:t>store</a:t>
            </a:r>
            <a:r>
              <a:rPr lang="de-CH"/>
              <a:t> &amp; </a:t>
            </a:r>
            <a:r>
              <a:rPr lang="de-CH" err="1"/>
              <a:t>execute</a:t>
            </a:r>
            <a:r>
              <a:rPr lang="de-CH"/>
              <a:t> a </a:t>
            </a:r>
            <a:r>
              <a:rPr lang="de-CH" err="1"/>
              <a:t>streamlit</a:t>
            </a:r>
            <a:r>
              <a:rPr lang="de-CH"/>
              <a:t> </a:t>
            </a:r>
            <a:r>
              <a:rPr lang="de-CH" err="1"/>
              <a:t>app</a:t>
            </a:r>
            <a:r>
              <a:rPr lang="de-CH"/>
              <a:t> </a:t>
            </a:r>
            <a:r>
              <a:rPr lang="de-CH" err="1"/>
              <a:t>from</a:t>
            </a:r>
            <a:r>
              <a:rPr lang="de-CH"/>
              <a:t> a </a:t>
            </a:r>
            <a:r>
              <a:rPr lang="de-CH" err="1"/>
              <a:t>Jupyter</a:t>
            </a:r>
            <a:r>
              <a:rPr lang="de-CH"/>
              <a:t> Notebook.</a:t>
            </a:r>
          </a:p>
          <a:p>
            <a:r>
              <a:rPr lang="de-CH"/>
              <a:t>After </a:t>
            </a:r>
            <a:r>
              <a:rPr lang="de-CH" err="1"/>
              <a:t>today</a:t>
            </a:r>
            <a:r>
              <a:rPr lang="de-CH"/>
              <a:t>, you should understand, that </a:t>
            </a:r>
            <a:r>
              <a:rPr lang="de-CH" err="1"/>
              <a:t>these</a:t>
            </a:r>
            <a:r>
              <a:rPr lang="de-CH"/>
              <a:t> </a:t>
            </a:r>
            <a:r>
              <a:rPr lang="de-CH" err="1"/>
              <a:t>notebooks</a:t>
            </a:r>
            <a:r>
              <a:rPr lang="de-CH"/>
              <a:t> </a:t>
            </a:r>
            <a:r>
              <a:rPr lang="de-CH" err="1"/>
              <a:t>did</a:t>
            </a:r>
            <a:r>
              <a:rPr lang="de-CH"/>
              <a:t> just </a:t>
            </a:r>
            <a:r>
              <a:rPr lang="de-CH" err="1"/>
              <a:t>use</a:t>
            </a:r>
            <a:r>
              <a:rPr lang="de-CH"/>
              <a:t> </a:t>
            </a:r>
            <a:r>
              <a:rPr lang="de-CH" err="1"/>
              <a:t>special</a:t>
            </a:r>
            <a:r>
              <a:rPr lang="de-CH"/>
              <a:t> </a:t>
            </a:r>
            <a:r>
              <a:rPr lang="de-CH" err="1"/>
              <a:t>syntax</a:t>
            </a:r>
            <a:r>
              <a:rPr lang="de-CH"/>
              <a:t> (! to </a:t>
            </a:r>
            <a:r>
              <a:rPr lang="de-CH" err="1"/>
              <a:t>execute</a:t>
            </a:r>
            <a:r>
              <a:rPr lang="de-CH"/>
              <a:t> code in CMD),</a:t>
            </a:r>
          </a:p>
          <a:p>
            <a:r>
              <a:rPr lang="de-CH"/>
              <a:t>to do </a:t>
            </a:r>
            <a:r>
              <a:rPr lang="de-CH" err="1"/>
              <a:t>the</a:t>
            </a:r>
            <a:r>
              <a:rPr lang="de-CH"/>
              <a:t> same </a:t>
            </a:r>
            <a:r>
              <a:rPr lang="de-CH" err="1"/>
              <a:t>things</a:t>
            </a:r>
            <a:r>
              <a:rPr lang="de-CH"/>
              <a:t> that you </a:t>
            </a:r>
            <a:r>
              <a:rPr lang="de-CH" err="1"/>
              <a:t>can</a:t>
            </a:r>
            <a:r>
              <a:rPr lang="de-CH"/>
              <a:t> do </a:t>
            </a:r>
            <a:r>
              <a:rPr lang="de-CH" err="1"/>
              <a:t>yourself</a:t>
            </a:r>
            <a:r>
              <a:rPr lang="de-CH"/>
              <a:t>: </a:t>
            </a:r>
            <a:r>
              <a:rPr lang="de-CH" err="1"/>
              <a:t>use</a:t>
            </a:r>
            <a:r>
              <a:rPr lang="de-CH"/>
              <a:t> </a:t>
            </a:r>
            <a:r>
              <a:rPr lang="de-CH" b="1" err="1"/>
              <a:t>pip</a:t>
            </a:r>
            <a:r>
              <a:rPr lang="de-CH" b="1"/>
              <a:t> </a:t>
            </a:r>
            <a:r>
              <a:rPr lang="de-CH" b="1" err="1"/>
              <a:t>install</a:t>
            </a:r>
            <a:r>
              <a:rPr lang="de-CH"/>
              <a:t>, </a:t>
            </a:r>
            <a:r>
              <a:rPr lang="de-CH" err="1"/>
              <a:t>store</a:t>
            </a:r>
            <a:r>
              <a:rPr lang="de-CH"/>
              <a:t> </a:t>
            </a:r>
            <a:r>
              <a:rPr lang="de-CH" b="1"/>
              <a:t>.</a:t>
            </a:r>
            <a:r>
              <a:rPr lang="de-CH" b="1" err="1"/>
              <a:t>py</a:t>
            </a:r>
            <a:r>
              <a:rPr lang="de-CH" b="1"/>
              <a:t> </a:t>
            </a:r>
            <a:r>
              <a:rPr lang="de-CH" b="1" err="1"/>
              <a:t>files</a:t>
            </a:r>
            <a:r>
              <a:rPr lang="de-CH" b="1"/>
              <a:t> &amp; </a:t>
            </a:r>
            <a:r>
              <a:rPr lang="de-CH" err="1"/>
              <a:t>execute</a:t>
            </a:r>
            <a:r>
              <a:rPr lang="de-CH" b="1"/>
              <a:t> </a:t>
            </a:r>
            <a:r>
              <a:rPr lang="de-CH" b="1" err="1"/>
              <a:t>streamlit</a:t>
            </a:r>
            <a:r>
              <a:rPr lang="de-CH" b="1"/>
              <a:t> </a:t>
            </a:r>
            <a:r>
              <a:rPr lang="de-CH" b="1" err="1"/>
              <a:t>run</a:t>
            </a:r>
            <a:r>
              <a:rPr lang="de-CH"/>
              <a:t> in CMD.</a:t>
            </a:r>
          </a:p>
          <a:p>
            <a:r>
              <a:rPr lang="de-CH" u="sng">
                <a:sym typeface="Wingdings" panose="05000000000000000000" pitchFamily="2" charset="2"/>
              </a:rPr>
              <a:t> </a:t>
            </a:r>
            <a:r>
              <a:rPr lang="de-CH" u="sng" err="1"/>
              <a:t>Jupyter</a:t>
            </a:r>
            <a:r>
              <a:rPr lang="de-CH" u="sng"/>
              <a:t> </a:t>
            </a:r>
            <a:r>
              <a:rPr lang="de-CH" u="sng" err="1"/>
              <a:t>allowed</a:t>
            </a:r>
            <a:r>
              <a:rPr lang="de-CH" u="sng"/>
              <a:t> you a fast </a:t>
            </a:r>
            <a:r>
              <a:rPr lang="de-CH" u="sng" err="1"/>
              <a:t>start</a:t>
            </a:r>
            <a:r>
              <a:rPr lang="de-CH" u="sng"/>
              <a:t>, but for </a:t>
            </a:r>
            <a:r>
              <a:rPr lang="de-CH" u="sng" err="1"/>
              <a:t>the</a:t>
            </a:r>
            <a:r>
              <a:rPr lang="de-CH" u="sng"/>
              <a:t> </a:t>
            </a:r>
            <a:r>
              <a:rPr lang="de-CH" u="sng" err="1"/>
              <a:t>actual</a:t>
            </a:r>
            <a:r>
              <a:rPr lang="de-CH" u="sng"/>
              <a:t> </a:t>
            </a:r>
            <a:r>
              <a:rPr lang="de-CH" u="sng" err="1"/>
              <a:t>group</a:t>
            </a:r>
            <a:r>
              <a:rPr lang="de-CH" u="sng"/>
              <a:t> </a:t>
            </a:r>
            <a:r>
              <a:rPr lang="de-CH" u="sng" err="1"/>
              <a:t>project</a:t>
            </a:r>
            <a:r>
              <a:rPr lang="de-CH" u="sng"/>
              <a:t>, </a:t>
            </a:r>
            <a:r>
              <a:rPr lang="de-CH" u="sng" err="1"/>
              <a:t>we</a:t>
            </a:r>
            <a:r>
              <a:rPr lang="de-CH" u="sng"/>
              <a:t> </a:t>
            </a:r>
            <a:r>
              <a:rPr lang="de-CH" u="sng" err="1"/>
              <a:t>recommend</a:t>
            </a:r>
            <a:r>
              <a:rPr lang="de-CH" u="sng"/>
              <a:t> to </a:t>
            </a:r>
            <a:r>
              <a:rPr lang="de-CH" u="sng" err="1"/>
              <a:t>run</a:t>
            </a:r>
            <a:r>
              <a:rPr lang="de-CH" u="sng"/>
              <a:t> </a:t>
            </a:r>
            <a:r>
              <a:rPr lang="de-CH" u="sng" err="1"/>
              <a:t>the</a:t>
            </a:r>
            <a:r>
              <a:rPr lang="de-CH" u="sng"/>
              <a:t> </a:t>
            </a:r>
            <a:r>
              <a:rPr lang="de-CH" u="sng" err="1"/>
              <a:t>commands</a:t>
            </a:r>
            <a:r>
              <a:rPr lang="de-CH" u="sng"/>
              <a:t> </a:t>
            </a:r>
            <a:r>
              <a:rPr lang="de-CH" u="sng" err="1"/>
              <a:t>yourself</a:t>
            </a:r>
            <a:r>
              <a:rPr lang="de-CH" u="sng"/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FC4A479-6C88-C116-62F4-68F4B7C20B65}"/>
              </a:ext>
            </a:extLst>
          </p:cNvPr>
          <p:cNvSpPr txBox="1"/>
          <p:nvPr/>
        </p:nvSpPr>
        <p:spPr>
          <a:xfrm>
            <a:off x="3805919" y="48969"/>
            <a:ext cx="5370739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i="1"/>
              <a:t>Also</a:t>
            </a:r>
            <a:r>
              <a:rPr lang="de-CH"/>
              <a:t>: Don’t </a:t>
            </a:r>
            <a:r>
              <a:rPr lang="de-CH" err="1"/>
              <a:t>worry</a:t>
            </a:r>
            <a:r>
              <a:rPr lang="de-CH"/>
              <a:t> </a:t>
            </a:r>
            <a:r>
              <a:rPr lang="de-CH" err="1"/>
              <a:t>too</a:t>
            </a:r>
            <a:r>
              <a:rPr lang="de-CH"/>
              <a:t> </a:t>
            </a:r>
            <a:r>
              <a:rPr lang="de-CH" err="1"/>
              <a:t>much</a:t>
            </a:r>
            <a:r>
              <a:rPr lang="de-CH"/>
              <a:t> </a:t>
            </a:r>
            <a:r>
              <a:rPr lang="de-CH" err="1"/>
              <a:t>about</a:t>
            </a:r>
            <a:r>
              <a:rPr lang="de-CH"/>
              <a:t> virtual </a:t>
            </a:r>
            <a:r>
              <a:rPr lang="de-CH" err="1"/>
              <a:t>environments</a:t>
            </a:r>
            <a:r>
              <a:rPr lang="de-CH"/>
              <a:t> (</a:t>
            </a:r>
            <a:r>
              <a:rPr lang="de-CH" b="1" err="1"/>
              <a:t>conda</a:t>
            </a:r>
            <a:r>
              <a:rPr lang="de-CH" b="1"/>
              <a:t> </a:t>
            </a:r>
            <a:r>
              <a:rPr lang="de-CH" b="1" err="1"/>
              <a:t>create</a:t>
            </a:r>
            <a:r>
              <a:rPr lang="de-CH"/>
              <a:t> / </a:t>
            </a:r>
            <a:r>
              <a:rPr lang="de-CH" b="1" err="1"/>
              <a:t>conda</a:t>
            </a:r>
            <a:r>
              <a:rPr lang="de-CH" b="1"/>
              <a:t> </a:t>
            </a:r>
            <a:r>
              <a:rPr lang="de-CH" b="1" err="1"/>
              <a:t>activate</a:t>
            </a:r>
            <a:r>
              <a:rPr lang="de-CH"/>
              <a:t>), you </a:t>
            </a:r>
            <a:r>
              <a:rPr lang="de-CH" err="1"/>
              <a:t>can</a:t>
            </a:r>
            <a:r>
              <a:rPr lang="de-CH"/>
              <a:t> code in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main</a:t>
            </a:r>
            <a:r>
              <a:rPr lang="de-CH"/>
              <a:t> </a:t>
            </a:r>
            <a:r>
              <a:rPr lang="de-CH" err="1"/>
              <a:t>env</a:t>
            </a:r>
            <a:r>
              <a:rPr lang="de-CH"/>
              <a:t>. To </a:t>
            </a:r>
            <a:r>
              <a:rPr lang="de-CH" err="1"/>
              <a:t>hand</a:t>
            </a:r>
            <a:r>
              <a:rPr lang="de-CH"/>
              <a:t> in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project</a:t>
            </a:r>
            <a:r>
              <a:rPr lang="de-CH"/>
              <a:t> </a:t>
            </a:r>
            <a:r>
              <a:rPr lang="de-CH" err="1"/>
              <a:t>we</a:t>
            </a:r>
            <a:r>
              <a:rPr lang="de-CH"/>
              <a:t> will </a:t>
            </a:r>
            <a:r>
              <a:rPr lang="de-CH" err="1"/>
              <a:t>revisit</a:t>
            </a:r>
            <a:r>
              <a:rPr lang="de-CH"/>
              <a:t> </a:t>
            </a:r>
            <a:r>
              <a:rPr lang="de-CH" err="1"/>
              <a:t>this</a:t>
            </a:r>
            <a:r>
              <a:rPr lang="de-CH"/>
              <a:t> </a:t>
            </a:r>
            <a:r>
              <a:rPr lang="de-CH" err="1"/>
              <a:t>topic</a:t>
            </a:r>
            <a:r>
              <a:rPr lang="de-CH"/>
              <a:t> and </a:t>
            </a:r>
            <a:r>
              <a:rPr lang="de-CH" err="1"/>
              <a:t>help</a:t>
            </a:r>
            <a:r>
              <a:rPr lang="de-CH"/>
              <a:t> you to </a:t>
            </a:r>
            <a:r>
              <a:rPr lang="de-CH" err="1"/>
              <a:t>create</a:t>
            </a:r>
            <a:r>
              <a:rPr lang="de-CH"/>
              <a:t> your </a:t>
            </a:r>
            <a:r>
              <a:rPr lang="de-CH" i="1"/>
              <a:t>requirements.txt </a:t>
            </a:r>
            <a:r>
              <a:rPr lang="de-CH" err="1"/>
              <a:t>file</a:t>
            </a:r>
            <a:r>
              <a:rPr lang="de-CH"/>
              <a:t>.</a:t>
            </a: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AA8AF9FC-94D2-36F4-B622-714165A48939}"/>
              </a:ext>
            </a:extLst>
          </p:cNvPr>
          <p:cNvSpPr/>
          <p:nvPr/>
        </p:nvSpPr>
        <p:spPr>
          <a:xfrm>
            <a:off x="4029557" y="2909407"/>
            <a:ext cx="800100" cy="67763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DBFBDA-E497-22AC-B250-20009E7AA7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4444" y="2212030"/>
            <a:ext cx="3456029" cy="21622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A8C354B-AA91-E049-27BD-9FEB2BCD88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4444" y="2942223"/>
            <a:ext cx="3456028" cy="53365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FF217EE-1843-8E46-49D3-C44274927F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96" t="69658" r="4692" b="14043"/>
          <a:stretch/>
        </p:blipFill>
        <p:spPr>
          <a:xfrm>
            <a:off x="358775" y="3023031"/>
            <a:ext cx="3053443" cy="440871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224B6A23-65EA-B9E9-A779-82EBF7788387}"/>
              </a:ext>
            </a:extLst>
          </p:cNvPr>
          <p:cNvGrpSpPr/>
          <p:nvPr/>
        </p:nvGrpSpPr>
        <p:grpSpPr>
          <a:xfrm>
            <a:off x="358775" y="3861637"/>
            <a:ext cx="3053443" cy="639198"/>
            <a:chOff x="358775" y="3850834"/>
            <a:chExt cx="3053443" cy="63919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ECB3A18-AEBC-6E96-858E-5423114412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86022"/>
            <a:stretch/>
          </p:blipFill>
          <p:spPr>
            <a:xfrm>
              <a:off x="358775" y="3850834"/>
              <a:ext cx="3053443" cy="275611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E93B539-8677-09EF-E976-15ACE4E6E1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38717" b="42842"/>
            <a:stretch/>
          </p:blipFill>
          <p:spPr>
            <a:xfrm>
              <a:off x="358775" y="4126445"/>
              <a:ext cx="3053443" cy="363587"/>
            </a:xfrm>
            <a:prstGeom prst="rect">
              <a:avLst/>
            </a:prstGeom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98B4AD61-816D-8D76-769C-B3F381A830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1179" y="4101014"/>
            <a:ext cx="4539293" cy="187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4711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rief summary of skills necessary to solve assignment 5</a:t>
            </a:r>
          </a:p>
        </p:txBody>
      </p:sp>
    </p:spTree>
    <p:extLst>
      <p:ext uri="{BB962C8B-B14F-4D97-AF65-F5344CB8AC3E}">
        <p14:creationId xmlns:p14="http://schemas.microsoft.com/office/powerpoint/2010/main" val="17007665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anchor="t">
            <a:normAutofit/>
          </a:bodyPr>
          <a:lstStyle/>
          <a:p>
            <a:r>
              <a:rPr lang="en-US"/>
              <a:t>Object Oriented Programming: The Basics (1/2)</a:t>
            </a:r>
            <a:r>
              <a:rPr lang="en-US" b="1"/>
              <a:t>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25</a:t>
            </a:fld>
            <a:endParaRPr lang="en-GB"/>
          </a:p>
        </p:txBody>
      </p:sp>
      <p:pic>
        <p:nvPicPr>
          <p:cNvPr id="1026" name="Picture 2" descr="Why Object-Oriented Programming Matters - Apollo Technical LLC">
            <a:extLst>
              <a:ext uri="{FF2B5EF4-FFF2-40B4-BE49-F238E27FC236}">
                <a16:creationId xmlns:a16="http://schemas.microsoft.com/office/drawing/2014/main" id="{35583404-4A01-694F-5F52-870C5A1E7A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25"/>
          <a:stretch/>
        </p:blipFill>
        <p:spPr bwMode="auto">
          <a:xfrm>
            <a:off x="358773" y="1201479"/>
            <a:ext cx="4499817" cy="3083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Java - Introduction to Object Oriented Programming [OOP] - Simple Snippets">
            <a:extLst>
              <a:ext uri="{FF2B5EF4-FFF2-40B4-BE49-F238E27FC236}">
                <a16:creationId xmlns:a16="http://schemas.microsoft.com/office/drawing/2014/main" id="{E6AF650B-C8C4-2FA3-71D4-F5D692E3A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937483"/>
            <a:ext cx="3891516" cy="1878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74055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anchor="t">
            <a:normAutofit/>
          </a:bodyPr>
          <a:lstStyle/>
          <a:p>
            <a:r>
              <a:rPr lang="en-US"/>
              <a:t>Object Oriented Programming: The Basics (2/2)</a:t>
            </a:r>
            <a:r>
              <a:rPr lang="en-US" b="1"/>
              <a:t>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26</a:t>
            </a:fld>
            <a:endParaRPr lang="en-GB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7BB902E-028A-64B8-BEBC-066ED8DDDF29}"/>
              </a:ext>
            </a:extLst>
          </p:cNvPr>
          <p:cNvSpPr txBox="1">
            <a:spLocks/>
          </p:cNvSpPr>
          <p:nvPr/>
        </p:nvSpPr>
        <p:spPr>
          <a:xfrm>
            <a:off x="7079728" y="178715"/>
            <a:ext cx="1775514" cy="5733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CH" b="1" err="1">
                <a:solidFill>
                  <a:srgbClr val="00802F"/>
                </a:solidFill>
              </a:rPr>
              <a:t>everything</a:t>
            </a:r>
            <a:r>
              <a:rPr lang="de-CH" b="1">
                <a:solidFill>
                  <a:srgbClr val="00802F"/>
                </a:solidFill>
              </a:rPr>
              <a:t> </a:t>
            </a:r>
            <a:r>
              <a:rPr lang="de-CH" b="1" err="1">
                <a:solidFill>
                  <a:srgbClr val="00802F"/>
                </a:solidFill>
              </a:rPr>
              <a:t>is</a:t>
            </a:r>
            <a:r>
              <a:rPr lang="de-CH" b="1">
                <a:solidFill>
                  <a:srgbClr val="00802F"/>
                </a:solidFill>
              </a:rPr>
              <a:t> an </a:t>
            </a:r>
            <a:r>
              <a:rPr lang="de-CH" b="1" err="1">
                <a:solidFill>
                  <a:srgbClr val="00802F"/>
                </a:solidFill>
              </a:rPr>
              <a:t>object</a:t>
            </a:r>
            <a:endParaRPr lang="en-GB" b="1">
              <a:solidFill>
                <a:srgbClr val="00802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24B85E-E272-0642-D0B0-3FAE99F00B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477" t="39210" b="14339"/>
          <a:stretch/>
        </p:blipFill>
        <p:spPr>
          <a:xfrm>
            <a:off x="337186" y="2648877"/>
            <a:ext cx="6385872" cy="183864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F971FE1-90B8-E654-0B41-42EA4CC3B6B6}"/>
              </a:ext>
            </a:extLst>
          </p:cNvPr>
          <p:cNvSpPr txBox="1"/>
          <p:nvPr/>
        </p:nvSpPr>
        <p:spPr>
          <a:xfrm>
            <a:off x="7794556" y="1294294"/>
            <a:ext cx="11908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1" err="1"/>
              <a:t>attributes</a:t>
            </a:r>
            <a:r>
              <a:rPr lang="de-CH" b="1"/>
              <a:t> </a:t>
            </a:r>
          </a:p>
          <a:p>
            <a:r>
              <a:rPr lang="de-CH" b="1"/>
              <a:t>with </a:t>
            </a:r>
            <a:r>
              <a:rPr lang="de-CH" b="1" err="1"/>
              <a:t>attribute</a:t>
            </a:r>
            <a:endParaRPr lang="de-CH" b="1"/>
          </a:p>
          <a:p>
            <a:r>
              <a:rPr lang="de-CH" b="1" err="1"/>
              <a:t>values</a:t>
            </a:r>
            <a:endParaRPr lang="en-GB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B5642C-2020-4194-BEE2-8C1050908E83}"/>
              </a:ext>
            </a:extLst>
          </p:cNvPr>
          <p:cNvSpPr txBox="1"/>
          <p:nvPr/>
        </p:nvSpPr>
        <p:spPr>
          <a:xfrm>
            <a:off x="358775" y="1294295"/>
            <a:ext cx="11908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1" err="1"/>
              <a:t>methods</a:t>
            </a:r>
            <a:r>
              <a:rPr lang="de-CH" b="1"/>
              <a:t> e.g. jump()</a:t>
            </a:r>
            <a:r>
              <a:rPr lang="en-GB" b="1"/>
              <a:t> or</a:t>
            </a:r>
          </a:p>
          <a:p>
            <a:r>
              <a:rPr lang="en-GB" b="1"/>
              <a:t>walk(2)</a:t>
            </a:r>
            <a:endParaRPr lang="de-CH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A8CCFA4-A154-428D-80FF-C1891A8021CC}"/>
              </a:ext>
            </a:extLst>
          </p:cNvPr>
          <p:cNvSpPr/>
          <p:nvPr/>
        </p:nvSpPr>
        <p:spPr>
          <a:xfrm rot="16200000">
            <a:off x="900434" y="1607573"/>
            <a:ext cx="1437400" cy="33669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err="1"/>
              <a:t>methods</a:t>
            </a:r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2954A2-3BDB-BB9A-D34F-3BF3144036CD}"/>
              </a:ext>
            </a:extLst>
          </p:cNvPr>
          <p:cNvSpPr txBox="1"/>
          <p:nvPr/>
        </p:nvSpPr>
        <p:spPr>
          <a:xfrm>
            <a:off x="2346239" y="1313256"/>
            <a:ext cx="15275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1" err="1"/>
              <a:t>Abilities</a:t>
            </a:r>
            <a:endParaRPr lang="de-CH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/>
              <a:t>jump</a:t>
            </a:r>
            <a:endParaRPr lang="en-GB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/>
              <a:t>walk</a:t>
            </a:r>
            <a:endParaRPr lang="de-CH" b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2B14B2-B7DA-E2D8-4B9F-E13B63D513BF}"/>
              </a:ext>
            </a:extLst>
          </p:cNvPr>
          <p:cNvSpPr/>
          <p:nvPr/>
        </p:nvSpPr>
        <p:spPr>
          <a:xfrm>
            <a:off x="3267518" y="1057223"/>
            <a:ext cx="2608964" cy="14353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err="1"/>
              <a:t>class</a:t>
            </a:r>
            <a:r>
              <a:rPr lang="de-CH"/>
              <a:t> </a:t>
            </a:r>
            <a:r>
              <a:rPr lang="de-CH" err="1"/>
              <a:t>horse</a:t>
            </a:r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7B9344-A3A5-925A-1DBD-2F6827430A9E}"/>
              </a:ext>
            </a:extLst>
          </p:cNvPr>
          <p:cNvSpPr txBox="1"/>
          <p:nvPr/>
        </p:nvSpPr>
        <p:spPr>
          <a:xfrm>
            <a:off x="5977822" y="1328507"/>
            <a:ext cx="15275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1"/>
              <a:t>Attribu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/>
              <a:t>Height</a:t>
            </a:r>
            <a:endParaRPr lang="en-GB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/>
              <a:t>Speed</a:t>
            </a:r>
            <a:endParaRPr lang="de-CH" b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9EA123-D0C7-A5A6-341A-AF62095F797A}"/>
              </a:ext>
            </a:extLst>
          </p:cNvPr>
          <p:cNvSpPr/>
          <p:nvPr/>
        </p:nvSpPr>
        <p:spPr>
          <a:xfrm rot="16200000">
            <a:off x="6806166" y="1607572"/>
            <a:ext cx="1437400" cy="33669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err="1"/>
              <a:t>attributes</a:t>
            </a:r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04712F-3F65-B612-2762-875C967988EA}"/>
              </a:ext>
            </a:extLst>
          </p:cNvPr>
          <p:cNvSpPr txBox="1"/>
          <p:nvPr/>
        </p:nvSpPr>
        <p:spPr>
          <a:xfrm>
            <a:off x="4854324" y="2940942"/>
            <a:ext cx="4000918" cy="15465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/>
              <a:t>Objects </a:t>
            </a:r>
            <a:r>
              <a:rPr lang="de-CH" err="1"/>
              <a:t>are</a:t>
            </a:r>
            <a:r>
              <a:rPr lang="de-CH"/>
              <a:t> </a:t>
            </a:r>
            <a:r>
              <a:rPr lang="de-CH" err="1"/>
              <a:t>instances</a:t>
            </a:r>
            <a:r>
              <a:rPr lang="de-CH"/>
              <a:t> </a:t>
            </a:r>
            <a:r>
              <a:rPr lang="de-CH" err="1"/>
              <a:t>of</a:t>
            </a:r>
            <a:r>
              <a:rPr lang="de-CH"/>
              <a:t> </a:t>
            </a:r>
            <a:r>
              <a:rPr lang="de-CH" err="1"/>
              <a:t>classes</a:t>
            </a:r>
            <a:r>
              <a:rPr lang="de-CH"/>
              <a:t> (</a:t>
            </a:r>
            <a:r>
              <a:rPr lang="de-CH" err="1"/>
              <a:t>blueprint</a:t>
            </a:r>
            <a:r>
              <a:rPr lang="de-CH"/>
              <a:t>) </a:t>
            </a:r>
            <a:r>
              <a:rPr lang="de-CH" err="1"/>
              <a:t>with</a:t>
            </a:r>
            <a:r>
              <a:rPr lang="de-CH"/>
              <a:t> </a:t>
            </a:r>
            <a:r>
              <a:rPr lang="de-CH" err="1"/>
              <a:t>attribute</a:t>
            </a:r>
            <a:r>
              <a:rPr lang="de-CH"/>
              <a:t> </a:t>
            </a:r>
            <a:r>
              <a:rPr lang="de-CH" err="1"/>
              <a:t>values</a:t>
            </a:r>
            <a:endParaRPr lang="de-CH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/>
              <a:t>Methods </a:t>
            </a:r>
            <a:r>
              <a:rPr lang="de-CH" err="1"/>
              <a:t>are</a:t>
            </a:r>
            <a:r>
              <a:rPr lang="de-CH"/>
              <a:t> </a:t>
            </a:r>
            <a:r>
              <a:rPr lang="de-CH" err="1"/>
              <a:t>executed</a:t>
            </a:r>
            <a:r>
              <a:rPr lang="de-CH"/>
              <a:t> on </a:t>
            </a:r>
            <a:r>
              <a:rPr lang="de-CH" err="1"/>
              <a:t>objects</a:t>
            </a:r>
            <a:endParaRPr lang="de-CH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/>
              <a:t>Sub </a:t>
            </a:r>
            <a:r>
              <a:rPr lang="de-CH" err="1"/>
              <a:t>classes</a:t>
            </a:r>
            <a:r>
              <a:rPr lang="de-CH"/>
              <a:t> </a:t>
            </a:r>
            <a:r>
              <a:rPr lang="de-CH" err="1"/>
              <a:t>inherit</a:t>
            </a:r>
            <a:r>
              <a:rPr lang="de-CH"/>
              <a:t> </a:t>
            </a:r>
            <a:r>
              <a:rPr lang="de-CH" err="1"/>
              <a:t>attributes</a:t>
            </a:r>
            <a:r>
              <a:rPr lang="de-CH"/>
              <a:t> &amp; </a:t>
            </a:r>
            <a:r>
              <a:rPr lang="de-CH" err="1"/>
              <a:t>methods</a:t>
            </a:r>
            <a:r>
              <a:rPr lang="de-CH"/>
              <a:t> </a:t>
            </a:r>
            <a:r>
              <a:rPr lang="de-CH" err="1"/>
              <a:t>from</a:t>
            </a:r>
            <a:r>
              <a:rPr lang="de-CH"/>
              <a:t> super (</a:t>
            </a:r>
            <a:r>
              <a:rPr lang="de-CH" err="1"/>
              <a:t>base</a:t>
            </a:r>
            <a:r>
              <a:rPr lang="de-CH"/>
              <a:t>) </a:t>
            </a:r>
            <a:r>
              <a:rPr lang="de-CH" err="1"/>
              <a:t>classes</a:t>
            </a:r>
            <a:endParaRPr lang="de-CH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b="0" i="0">
                <a:solidFill>
                  <a:srgbClr val="292929"/>
                </a:solidFill>
                <a:effectLst/>
                <a:latin typeface="Gill Sans Nova"/>
              </a:rPr>
              <a:t>Any time an object is created it is </a:t>
            </a:r>
            <a:r>
              <a:rPr lang="en-GB" b="0" i="0" u="sng">
                <a:effectLst/>
                <a:latin typeface="Gill Sans Nova"/>
                <a:hlinkClick r:id="rId3"/>
              </a:rPr>
              <a:t>instantiated</a:t>
            </a:r>
            <a:r>
              <a:rPr lang="en-GB" b="0" i="0">
                <a:solidFill>
                  <a:srgbClr val="292929"/>
                </a:solidFill>
                <a:effectLst/>
                <a:latin typeface="Gill Sans Nova"/>
              </a:rPr>
              <a:t>.</a:t>
            </a:r>
            <a:endParaRPr lang="de-CH">
              <a:latin typeface="Gill Sans Nova"/>
            </a:endParaRP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44048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7F8D6D-E79C-CDA0-8650-3CF1226E9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ass –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datatyp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2B219F-E999-EA46-44BC-AC11733D5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7</a:t>
            </a:fld>
            <a:endParaRPr lang="en-GB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753CDC6-4ADE-52EE-4C52-8C392CCD1E97}"/>
              </a:ext>
            </a:extLst>
          </p:cNvPr>
          <p:cNvSpPr txBox="1"/>
          <p:nvPr/>
        </p:nvSpPr>
        <p:spPr>
          <a:xfrm>
            <a:off x="253003" y="768519"/>
            <a:ext cx="807292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In </a:t>
            </a:r>
            <a:r>
              <a:rPr lang="de-DE" err="1"/>
              <a:t>object-oriented</a:t>
            </a:r>
            <a:r>
              <a:rPr lang="de-DE"/>
              <a:t> </a:t>
            </a:r>
            <a:r>
              <a:rPr lang="de-DE" err="1"/>
              <a:t>programming</a:t>
            </a:r>
            <a:r>
              <a:rPr lang="de-DE"/>
              <a:t>, a </a:t>
            </a:r>
            <a:r>
              <a:rPr lang="de-DE" err="1"/>
              <a:t>class</a:t>
            </a:r>
            <a:r>
              <a:rPr lang="de-DE"/>
              <a:t> </a:t>
            </a:r>
            <a:r>
              <a:rPr lang="de-DE" err="1"/>
              <a:t>is</a:t>
            </a:r>
            <a:r>
              <a:rPr lang="de-DE"/>
              <a:t> an extensible </a:t>
            </a:r>
            <a:r>
              <a:rPr lang="de-DE" b="1"/>
              <a:t>program-code-template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creating</a:t>
            </a:r>
            <a:r>
              <a:rPr lang="de-DE"/>
              <a:t> </a:t>
            </a:r>
            <a:r>
              <a:rPr lang="de-DE" err="1"/>
              <a:t>objects</a:t>
            </a:r>
            <a:r>
              <a:rPr lang="de-DE"/>
              <a:t>, </a:t>
            </a:r>
            <a:r>
              <a:rPr lang="de-DE" err="1"/>
              <a:t>providing</a:t>
            </a:r>
            <a:r>
              <a:rPr lang="de-DE"/>
              <a:t> initial </a:t>
            </a:r>
            <a:r>
              <a:rPr lang="de-DE" err="1"/>
              <a:t>value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state</a:t>
            </a:r>
            <a:r>
              <a:rPr lang="de-DE"/>
              <a:t> (</a:t>
            </a:r>
            <a:r>
              <a:rPr lang="de-DE" err="1"/>
              <a:t>member</a:t>
            </a:r>
            <a:r>
              <a:rPr lang="de-DE"/>
              <a:t> variables) and </a:t>
            </a:r>
            <a:r>
              <a:rPr lang="de-DE" err="1"/>
              <a:t>implementation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behavior</a:t>
            </a:r>
            <a:r>
              <a:rPr lang="de-DE"/>
              <a:t> (</a:t>
            </a:r>
            <a:r>
              <a:rPr lang="de-DE" err="1"/>
              <a:t>methods</a:t>
            </a:r>
            <a:r>
              <a:rPr lang="de-DE"/>
              <a:t>)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0B9E62E-A81F-AE76-C41E-424DD07ED2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1757" y="1476642"/>
            <a:ext cx="4553467" cy="319955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5B3B620-F30D-6DF2-F616-9AA7A83F1F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5" y="1472617"/>
            <a:ext cx="3820096" cy="3203576"/>
          </a:xfrm>
          <a:ln>
            <a:solidFill>
              <a:srgbClr val="A0A0A0"/>
            </a:solidFill>
          </a:ln>
        </p:spPr>
        <p:txBody>
          <a:bodyPr vert="horz" lIns="90000" tIns="144000" rIns="54000" bIns="54000" rtlCol="0">
            <a:normAutofit/>
          </a:bodyPr>
          <a:lstStyle/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F4E5E7EC-CA7E-24EC-2825-D3727EA5936D}"/>
              </a:ext>
            </a:extLst>
          </p:cNvPr>
          <p:cNvSpPr txBox="1">
            <a:spLocks/>
          </p:cNvSpPr>
          <p:nvPr/>
        </p:nvSpPr>
        <p:spPr>
          <a:xfrm>
            <a:off x="56133" y="1378181"/>
            <a:ext cx="4122738" cy="3203576"/>
          </a:xfrm>
          <a:prstGeom prst="rect">
            <a:avLst/>
          </a:prstGeom>
        </p:spPr>
        <p:txBody>
          <a:bodyPr vert="horz" lIns="90000" tIns="144000" rIns="54000" bIns="54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A93633D-8350-0982-391B-3786E7B796E3}"/>
              </a:ext>
            </a:extLst>
          </p:cNvPr>
          <p:cNvSpPr txBox="1"/>
          <p:nvPr/>
        </p:nvSpPr>
        <p:spPr>
          <a:xfrm>
            <a:off x="358775" y="1475018"/>
            <a:ext cx="382009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to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reat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a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las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w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us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th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following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yntax</a:t>
            </a:r>
            <a:endParaRPr lang="de-CH" b="0">
              <a:solidFill>
                <a:srgbClr val="383A42"/>
              </a:solidFill>
              <a:effectLst/>
              <a:latin typeface="Menlo" panose="020B0609030804020204" pitchFamily="49" charset="0"/>
            </a:endParaRPr>
          </a:p>
          <a:p>
            <a:r>
              <a:rPr lang="de-CH" b="0" err="1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class</a:t>
            </a:r>
            <a:r>
              <a:rPr lang="de-CH" b="0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err="1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MyClass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:</a:t>
            </a:r>
            <a:endParaRPr lang="de-CH" b="0" i="1">
              <a:solidFill>
                <a:srgbClr val="A0A1A7"/>
              </a:solidFill>
              <a:effectLst/>
              <a:latin typeface="Menlo" panose="020B0609030804020204" pitchFamily="49" charset="0"/>
            </a:endParaRPr>
          </a:p>
          <a:p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__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init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__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i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alled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when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a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object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i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b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</a:b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instantiated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- </a:t>
            </a:r>
            <a:r>
              <a:rPr lang="de-CH" b="1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onstructor</a:t>
            </a:r>
            <a:endParaRPr lang="de-CH" b="0">
              <a:solidFill>
                <a:srgbClr val="383A42"/>
              </a:solidFill>
              <a:effectLst/>
              <a:latin typeface="Menlo" panose="020B0609030804020204" pitchFamily="49" charset="0"/>
            </a:endParaRPr>
          </a:p>
          <a:p>
            <a:r>
              <a:rPr lang="de-CH" b="0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de-CH" b="0" err="1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de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__</a:t>
            </a:r>
            <a:r>
              <a:rPr lang="de-CH" b="0" err="1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init</a:t>
            </a:r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__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de-CH" b="0" err="1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,</a:t>
            </a:r>
            <a:r>
              <a:rPr lang="de-CH" b="0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 p1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,</a:t>
            </a:r>
            <a:r>
              <a:rPr lang="de-CH" b="0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 p2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): 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assign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value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to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object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attributes</a:t>
            </a:r>
            <a:endParaRPr lang="de-CH" b="0">
              <a:solidFill>
                <a:srgbClr val="383A42"/>
              </a:solidFill>
              <a:effectLst/>
              <a:latin typeface="Menlo" panose="020B0609030804020204" pitchFamily="49" charset="0"/>
            </a:endParaRPr>
          </a:p>
          <a:p>
            <a:r>
              <a:rPr lang="de-CH" b="0">
                <a:solidFill>
                  <a:srgbClr val="E45649"/>
                </a:solidFill>
                <a:effectLst/>
                <a:latin typeface="Menlo" panose="020B0609030804020204" pitchFamily="49" charset="0"/>
              </a:rPr>
              <a:t>	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.p1 = p1</a:t>
            </a:r>
          </a:p>
          <a:p>
            <a:r>
              <a:rPr lang="de-CH" b="0">
                <a:solidFill>
                  <a:srgbClr val="E45649"/>
                </a:solidFill>
                <a:effectLst/>
                <a:latin typeface="Menlo" panose="020B0609030804020204" pitchFamily="49" charset="0"/>
              </a:rPr>
              <a:t>	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.p2 = p2</a:t>
            </a:r>
          </a:p>
          <a:p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elf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i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used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for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object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pecific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(not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tatic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methods</a:t>
            </a:r>
            <a:endParaRPr lang="de-CH" b="0">
              <a:solidFill>
                <a:srgbClr val="383A42"/>
              </a:solidFill>
              <a:effectLst/>
              <a:latin typeface="Menlo" panose="020B0609030804020204" pitchFamily="49" charset="0"/>
            </a:endParaRPr>
          </a:p>
          <a:p>
            <a:r>
              <a:rPr lang="de-CH">
                <a:solidFill>
                  <a:srgbClr val="A626A4"/>
                </a:solidFill>
                <a:latin typeface="Menlo" panose="020B0609030804020204" pitchFamily="49" charset="0"/>
              </a:rPr>
              <a:t>  </a:t>
            </a:r>
            <a:r>
              <a:rPr lang="de-CH" b="0" err="1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de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err="1">
                <a:solidFill>
                  <a:srgbClr val="4078F2"/>
                </a:solidFill>
                <a:effectLst/>
                <a:latin typeface="Menlo" panose="020B0609030804020204" pitchFamily="49" charset="0"/>
              </a:rPr>
              <a:t>my_method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de-CH" b="0" err="1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):</a:t>
            </a:r>
          </a:p>
          <a:p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	</a:t>
            </a:r>
            <a:r>
              <a:rPr lang="de-CH" b="0" err="1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print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de-CH" b="0">
                <a:solidFill>
                  <a:srgbClr val="50A14F"/>
                </a:solidFill>
                <a:effectLst/>
                <a:latin typeface="Menlo" panose="020B0609030804020204" pitchFamily="49" charset="0"/>
              </a:rPr>
              <a:t>"Hello"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to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acces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an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attribute</a:t>
            </a: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 </a:t>
            </a:r>
            <a:r>
              <a:rPr lang="de-CH" b="1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within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a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las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w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us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th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b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</a:b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#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th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keyword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elf</a:t>
            </a:r>
            <a:endParaRPr lang="de-CH" b="0">
              <a:solidFill>
                <a:srgbClr val="383A42"/>
              </a:solidFill>
              <a:effectLst/>
              <a:latin typeface="Menlo" panose="020B0609030804020204" pitchFamily="49" charset="0"/>
            </a:endParaRPr>
          </a:p>
          <a:p>
            <a:r>
              <a:rPr lang="de-CH">
                <a:solidFill>
                  <a:srgbClr val="A626A4"/>
                </a:solidFill>
                <a:latin typeface="Menlo" panose="020B0609030804020204" pitchFamily="49" charset="0"/>
              </a:rPr>
              <a:t>  </a:t>
            </a:r>
            <a:r>
              <a:rPr lang="de-CH" b="0" err="1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de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>
                <a:solidFill>
                  <a:srgbClr val="4078F2"/>
                </a:solidFill>
                <a:effectLst/>
                <a:latin typeface="Menlo" panose="020B0609030804020204" pitchFamily="49" charset="0"/>
              </a:rPr>
              <a:t>get_p1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de-CH" b="0" err="1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):</a:t>
            </a:r>
          </a:p>
          <a:p>
            <a:r>
              <a:rPr lang="de-CH" b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	</a:t>
            </a:r>
            <a:r>
              <a:rPr lang="de-CH" b="1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>
                <a:solidFill>
                  <a:srgbClr val="E45649"/>
                </a:solidFill>
                <a:effectLst/>
                <a:latin typeface="Menlo" panose="020B0609030804020204" pitchFamily="49" charset="0"/>
              </a:rPr>
              <a:t>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.p1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0421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7F8D6D-E79C-CDA0-8650-3CF1226E9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bjects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Instance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a Class </a:t>
            </a:r>
            <a:br>
              <a:rPr lang="de-DE"/>
            </a:b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2B219F-E999-EA46-44BC-AC11733D5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8</a:t>
            </a:fld>
            <a:endParaRPr lang="en-GB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753CDC6-4ADE-52EE-4C52-8C392CCD1E97}"/>
              </a:ext>
            </a:extLst>
          </p:cNvPr>
          <p:cNvSpPr txBox="1"/>
          <p:nvPr/>
        </p:nvSpPr>
        <p:spPr>
          <a:xfrm>
            <a:off x="497550" y="697328"/>
            <a:ext cx="8072921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CH" sz="1400">
                <a:effectLst/>
                <a:latin typeface="Gill Sans Nova"/>
              </a:rPr>
              <a:t>Objects </a:t>
            </a:r>
            <a:r>
              <a:rPr lang="de-CH" sz="1400" err="1">
                <a:effectLst/>
                <a:latin typeface="Gill Sans Nova,Bold" panose="020B0502020104020203" pitchFamily="34" charset="-79"/>
                <a:cs typeface="Gill Sans Nova,Bold"/>
              </a:rPr>
              <a:t>instantiate</a:t>
            </a:r>
            <a:r>
              <a:rPr lang="de-CH" sz="1400">
                <a:effectLst/>
                <a:latin typeface="Gill Sans Nova,Bold" panose="020B0502020104020203" pitchFamily="34" charset="-79"/>
                <a:cs typeface="Gill Sans Nova,Bold"/>
              </a:rPr>
              <a:t> </a:t>
            </a:r>
            <a:r>
              <a:rPr lang="de-CH" sz="1400">
                <a:effectLst/>
                <a:latin typeface="Gill Sans Nova"/>
              </a:rPr>
              <a:t>Classes</a:t>
            </a:r>
            <a:br>
              <a:rPr lang="de-CH" sz="1400">
                <a:effectLst/>
                <a:latin typeface="Gill Sans Nova" panose="020B0602020104020203" pitchFamily="34" charset="0"/>
              </a:rPr>
            </a:br>
            <a:r>
              <a:rPr lang="de-CH" sz="1400">
                <a:effectLst/>
                <a:latin typeface="Gill Sans Nova"/>
              </a:rPr>
              <a:t>Objects </a:t>
            </a:r>
            <a:r>
              <a:rPr lang="de-CH" sz="1400" err="1">
                <a:effectLst/>
                <a:latin typeface="Gill Sans Nova"/>
              </a:rPr>
              <a:t>have</a:t>
            </a:r>
            <a:r>
              <a:rPr lang="de-CH" sz="1400">
                <a:effectLst/>
                <a:latin typeface="Gill Sans Nova"/>
              </a:rPr>
              <a:t> </a:t>
            </a:r>
            <a:r>
              <a:rPr lang="de-CH" sz="1400" err="1">
                <a:effectLst/>
                <a:latin typeface="Gill Sans Nova,Bold" panose="020B0502020104020203" pitchFamily="34" charset="-79"/>
                <a:cs typeface="Gill Sans Nova,Bold"/>
              </a:rPr>
              <a:t>attribute</a:t>
            </a:r>
            <a:r>
              <a:rPr lang="de-CH" sz="1400">
                <a:effectLst/>
                <a:latin typeface="Gill Sans Nova,Bold" panose="020B0502020104020203" pitchFamily="34" charset="-79"/>
                <a:cs typeface="Gill Sans Nova,Bold"/>
              </a:rPr>
              <a:t> </a:t>
            </a:r>
            <a:r>
              <a:rPr lang="de-CH" sz="1400" err="1">
                <a:effectLst/>
                <a:latin typeface="Gill Sans Nova,Bold" panose="020B0502020104020203" pitchFamily="34" charset="-79"/>
                <a:cs typeface="Gill Sans Nova,Bold"/>
              </a:rPr>
              <a:t>values</a:t>
            </a:r>
            <a:r>
              <a:rPr lang="de-CH" sz="1400">
                <a:latin typeface="Gill Sans Nova,Bold" panose="020B0502020104020203" pitchFamily="34" charset="-79"/>
                <a:cs typeface="Gill Sans Nova,Bold"/>
              </a:rPr>
              <a:t> </a:t>
            </a:r>
            <a:endParaRPr lang="de-CH" sz="1400">
              <a:effectLst/>
              <a:latin typeface="Gill Sans Nova,Bold" panose="020B0502020104020203" pitchFamily="34" charset="-79"/>
              <a:cs typeface="Gill Sans Nova,Bold" panose="020B0502020104020203" pitchFamily="34" charset="-79"/>
            </a:endParaRPr>
          </a:p>
          <a:p>
            <a:r>
              <a:rPr lang="de-CH" sz="1400">
                <a:effectLst/>
                <a:latin typeface="Gill Sans Nova,Bold" panose="020B0502020104020203" pitchFamily="34" charset="-79"/>
                <a:cs typeface="Gill Sans Nova,Bold"/>
              </a:rPr>
              <a:t>Methods </a:t>
            </a:r>
            <a:r>
              <a:rPr lang="de-CH" sz="1400" err="1">
                <a:effectLst/>
                <a:latin typeface="Gill Sans Nova"/>
              </a:rPr>
              <a:t>can</a:t>
            </a:r>
            <a:r>
              <a:rPr lang="de-CH" sz="1400">
                <a:effectLst/>
                <a:latin typeface="Gill Sans Nova"/>
              </a:rPr>
              <a:t> </a:t>
            </a:r>
            <a:r>
              <a:rPr lang="de-CH" sz="1400" err="1">
                <a:effectLst/>
                <a:latin typeface="Gill Sans Nova"/>
              </a:rPr>
              <a:t>be</a:t>
            </a:r>
            <a:r>
              <a:rPr lang="de-CH" sz="1400">
                <a:effectLst/>
                <a:latin typeface="Gill Sans Nova"/>
              </a:rPr>
              <a:t> </a:t>
            </a:r>
            <a:r>
              <a:rPr lang="de-CH" sz="1400" err="1">
                <a:effectLst/>
                <a:latin typeface="Gill Sans Nova"/>
              </a:rPr>
              <a:t>executed</a:t>
            </a:r>
            <a:r>
              <a:rPr lang="de-CH" sz="1400">
                <a:effectLst/>
                <a:latin typeface="Gill Sans Nova"/>
              </a:rPr>
              <a:t> on </a:t>
            </a:r>
            <a:r>
              <a:rPr lang="de-CH" sz="1400" err="1">
                <a:effectLst/>
                <a:latin typeface="Gill Sans Nova"/>
              </a:rPr>
              <a:t>objects</a:t>
            </a:r>
            <a:r>
              <a:rPr lang="de-CH" sz="1400">
                <a:latin typeface="Gill Sans Nova"/>
              </a:rPr>
              <a:t>.</a:t>
            </a:r>
            <a:r>
              <a:rPr lang="de-CH" sz="1400">
                <a:effectLst/>
                <a:latin typeface="Gill Sans Nova"/>
              </a:rPr>
              <a:t> Methods </a:t>
            </a:r>
            <a:r>
              <a:rPr lang="de-CH" sz="1400" err="1">
                <a:effectLst/>
                <a:latin typeface="Gill Sans Nova"/>
              </a:rPr>
              <a:t>may</a:t>
            </a:r>
            <a:r>
              <a:rPr lang="de-CH" sz="1400">
                <a:effectLst/>
                <a:latin typeface="Gill Sans Nova"/>
              </a:rPr>
              <a:t> </a:t>
            </a:r>
            <a:r>
              <a:rPr lang="de-CH" sz="1400" err="1">
                <a:effectLst/>
                <a:latin typeface="Gill Sans Nova,Bold" panose="020B0502020104020203" pitchFamily="34" charset="-79"/>
                <a:cs typeface="Gill Sans Nova,Bold"/>
              </a:rPr>
              <a:t>affect</a:t>
            </a:r>
            <a:r>
              <a:rPr lang="de-CH" sz="1400">
                <a:effectLst/>
                <a:latin typeface="Gill Sans Nova,Bold" panose="020B0502020104020203" pitchFamily="34" charset="-79"/>
                <a:cs typeface="Gill Sans Nova,Bold"/>
              </a:rPr>
              <a:t> </a:t>
            </a:r>
            <a:r>
              <a:rPr lang="de-CH" sz="1400" err="1">
                <a:effectLst/>
                <a:latin typeface="Gill Sans Nova"/>
              </a:rPr>
              <a:t>attribute</a:t>
            </a:r>
            <a:r>
              <a:rPr lang="de-CH" sz="1400">
                <a:effectLst/>
                <a:latin typeface="Gill Sans Nova"/>
              </a:rPr>
              <a:t> </a:t>
            </a:r>
            <a:r>
              <a:rPr lang="de-CH" sz="1400" err="1">
                <a:effectLst/>
                <a:latin typeface="Gill Sans Nova"/>
              </a:rPr>
              <a:t>values</a:t>
            </a:r>
            <a:r>
              <a:rPr lang="de-CH" sz="1400">
                <a:latin typeface="Gill Sans Nova"/>
              </a:rPr>
              <a:t> </a:t>
            </a:r>
            <a:endParaRPr lang="de-CH" sz="1100">
              <a:effectLst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BCE9AF3-F566-2019-9932-50DD46E15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523" y="1435992"/>
            <a:ext cx="8113391" cy="186446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744F94E-41E3-E872-03AA-57A6E4624870}"/>
              </a:ext>
            </a:extLst>
          </p:cNvPr>
          <p:cNvSpPr txBox="1"/>
          <p:nvPr/>
        </p:nvSpPr>
        <p:spPr>
          <a:xfrm>
            <a:off x="497549" y="3332872"/>
            <a:ext cx="80729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err="1">
                <a:effectLst/>
                <a:latin typeface="Gill Sans Nova" panose="020B0602020104020203" pitchFamily="34" charset="0"/>
              </a:rPr>
              <a:t>Built</a:t>
            </a:r>
            <a:r>
              <a:rPr lang="de-CH" sz="1400">
                <a:effectLst/>
                <a:latin typeface="Gill Sans Nova" panose="020B0602020104020203" pitchFamily="34" charset="0"/>
              </a:rPr>
              <a:t> in 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data</a:t>
            </a:r>
            <a:r>
              <a:rPr lang="de-CH" sz="1400">
                <a:effectLst/>
                <a:latin typeface="Gill Sans Nova" panose="020B0602020104020203" pitchFamily="34" charset="0"/>
              </a:rPr>
              <a:t> 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types</a:t>
            </a:r>
            <a:r>
              <a:rPr lang="de-CH" sz="1400">
                <a:effectLst/>
                <a:latin typeface="Gill Sans Nova" panose="020B0602020104020203" pitchFamily="34" charset="0"/>
              </a:rPr>
              <a:t> (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classes</a:t>
            </a:r>
            <a:r>
              <a:rPr lang="de-CH" sz="1400">
                <a:effectLst/>
                <a:latin typeface="Gill Sans Nova" panose="020B0602020104020203" pitchFamily="34" charset="0"/>
              </a:rPr>
              <a:t>) 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have</a:t>
            </a:r>
            <a:r>
              <a:rPr lang="de-CH" sz="1400">
                <a:effectLst/>
                <a:latin typeface="Gill Sans Nova" panose="020B0602020104020203" pitchFamily="34" charset="0"/>
              </a:rPr>
              <a:t> 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methods</a:t>
            </a:r>
            <a:r>
              <a:rPr lang="de-CH" sz="1400">
                <a:effectLst/>
                <a:latin typeface="Gill Sans Nova" panose="020B0602020104020203" pitchFamily="34" charset="0"/>
              </a:rPr>
              <a:t> 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you</a:t>
            </a:r>
            <a:r>
              <a:rPr lang="de-CH" sz="1400">
                <a:effectLst/>
                <a:latin typeface="Gill Sans Nova" panose="020B0602020104020203" pitchFamily="34" charset="0"/>
              </a:rPr>
              <a:t> 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alread</a:t>
            </a:r>
            <a:r>
              <a:rPr lang="de-CH" sz="1400" err="1">
                <a:latin typeface="Gill Sans Nova" panose="020B0602020104020203" pitchFamily="34" charset="0"/>
              </a:rPr>
              <a:t>y</a:t>
            </a:r>
            <a:r>
              <a:rPr lang="de-CH" sz="1400">
                <a:latin typeface="Gill Sans Nova" panose="020B0602020104020203" pitchFamily="34" charset="0"/>
              </a:rPr>
              <a:t> </a:t>
            </a:r>
            <a:r>
              <a:rPr lang="de-CH" sz="1400" err="1">
                <a:latin typeface="Gill Sans Nova" panose="020B0602020104020203" pitchFamily="34" charset="0"/>
              </a:rPr>
              <a:t>know</a:t>
            </a:r>
            <a:r>
              <a:rPr lang="de-CH" sz="1400">
                <a:latin typeface="Gill Sans Nova" panose="020B0602020104020203" pitchFamily="34" charset="0"/>
              </a:rPr>
              <a:t> and </a:t>
            </a:r>
            <a:r>
              <a:rPr lang="de-CH" sz="1400" err="1">
                <a:latin typeface="Gill Sans Nova" panose="020B0602020104020203" pitchFamily="34" charset="0"/>
              </a:rPr>
              <a:t>have</a:t>
            </a:r>
            <a:r>
              <a:rPr lang="de-CH" sz="1400">
                <a:latin typeface="Gill Sans Nova" panose="020B0602020104020203" pitchFamily="34" charset="0"/>
              </a:rPr>
              <a:t> </a:t>
            </a:r>
            <a:r>
              <a:rPr lang="de-CH" sz="1400" err="1">
                <a:latin typeface="Gill Sans Nova" panose="020B0602020104020203" pitchFamily="34" charset="0"/>
              </a:rPr>
              <a:t>used</a:t>
            </a:r>
            <a:endParaRPr lang="de-CH" sz="1100">
              <a:effectLst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A9A74CA-A5C7-B2E3-BE46-19570841D8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3522" y="3640649"/>
            <a:ext cx="8072921" cy="977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8372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Special Metho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055D0-88FC-814E-85AF-F5DD6D2473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 vert="horz" lIns="90000" tIns="144000" rIns="54000" bIns="54000" rtlCol="0">
            <a:normAutofit/>
          </a:bodyPr>
          <a:lstStyle/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ABB2ADA-E1DB-4B4A-B517-713666D358EF}"/>
              </a:ext>
            </a:extLst>
          </p:cNvPr>
          <p:cNvSpPr txBox="1">
            <a:spLocks/>
          </p:cNvSpPr>
          <p:nvPr/>
        </p:nvSpPr>
        <p:spPr>
          <a:xfrm>
            <a:off x="4662487" y="1276350"/>
            <a:ext cx="4122737" cy="3203575"/>
          </a:xfrm>
          <a:prstGeom prst="rect">
            <a:avLst/>
          </a:prstGeo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US" smtClean="0"/>
              <a:pPr>
                <a:spcAft>
                  <a:spcPts val="600"/>
                </a:spcAft>
              </a:pPr>
              <a:t>29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8147645-F5CB-BEB3-601A-C12CBC4FBB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2001" y="1146490"/>
            <a:ext cx="759637" cy="215444"/>
          </a:xfrm>
        </p:spPr>
        <p:txBody>
          <a:bodyPr/>
          <a:lstStyle/>
          <a:p>
            <a:r>
              <a:rPr lang="en-US"/>
              <a:t>__</a:t>
            </a:r>
            <a:r>
              <a:rPr lang="en-US" err="1"/>
              <a:t>init</a:t>
            </a:r>
            <a:r>
              <a:rPr lang="en-US"/>
              <a:t>__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26F8BED-3A62-F6B4-30DB-E1F7951ADF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12834" y="1146491"/>
            <a:ext cx="1804924" cy="215444"/>
          </a:xfrm>
        </p:spPr>
        <p:txBody>
          <a:bodyPr/>
          <a:lstStyle/>
          <a:p>
            <a:r>
              <a:rPr lang="en-US"/>
              <a:t>__str__ / __repr__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C780FA-8826-4B47-9CC6-3C3ACC11BFD0}"/>
              </a:ext>
            </a:extLst>
          </p:cNvPr>
          <p:cNvSpPr txBox="1"/>
          <p:nvPr/>
        </p:nvSpPr>
        <p:spPr>
          <a:xfrm>
            <a:off x="7387182" y="1935452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41F384-C23E-E548-BB2B-CE9595ECA059}"/>
              </a:ext>
            </a:extLst>
          </p:cNvPr>
          <p:cNvSpPr txBox="1"/>
          <p:nvPr/>
        </p:nvSpPr>
        <p:spPr>
          <a:xfrm>
            <a:off x="7387182" y="206128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75E9984-71DA-8845-A21A-D249DB7CC22A}"/>
              </a:ext>
            </a:extLst>
          </p:cNvPr>
          <p:cNvSpPr txBox="1"/>
          <p:nvPr/>
        </p:nvSpPr>
        <p:spPr>
          <a:xfrm>
            <a:off x="7387182" y="231295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404B6C-A24A-7C49-9A6B-8279E0EF54EB}"/>
              </a:ext>
            </a:extLst>
          </p:cNvPr>
          <p:cNvSpPr txBox="1"/>
          <p:nvPr/>
        </p:nvSpPr>
        <p:spPr>
          <a:xfrm>
            <a:off x="7387182" y="2455569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50BB7BA-3E97-EF47-BB7E-A91C0C05CFC9}"/>
              </a:ext>
            </a:extLst>
          </p:cNvPr>
          <p:cNvSpPr txBox="1"/>
          <p:nvPr/>
        </p:nvSpPr>
        <p:spPr>
          <a:xfrm>
            <a:off x="7387182" y="2682072"/>
            <a:ext cx="681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ello”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CF3D053-1391-1D49-BA69-D55FE11DBE81}"/>
              </a:ext>
            </a:extLst>
          </p:cNvPr>
          <p:cNvSpPr txBox="1"/>
          <p:nvPr/>
        </p:nvSpPr>
        <p:spPr>
          <a:xfrm>
            <a:off x="7387182" y="2816296"/>
            <a:ext cx="782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World!”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35045E0-711C-9B8D-E7C0-B793D1F970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001" y="1667781"/>
            <a:ext cx="4043102" cy="611649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8402065-B0C1-1FFD-5746-47118007C7AA}"/>
              </a:ext>
            </a:extLst>
          </p:cNvPr>
          <p:cNvSpPr txBox="1"/>
          <p:nvPr/>
        </p:nvSpPr>
        <p:spPr>
          <a:xfrm>
            <a:off x="412001" y="1367699"/>
            <a:ext cx="383835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1) Define __</a:t>
            </a:r>
            <a:r>
              <a:rPr lang="en-US" err="1"/>
              <a:t>init</a:t>
            </a:r>
            <a:r>
              <a:rPr lang="en-US"/>
              <a:t>__ method in clas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149AEBD-ADF1-CDEC-B348-2611DD349C70}"/>
              </a:ext>
            </a:extLst>
          </p:cNvPr>
          <p:cNvSpPr txBox="1"/>
          <p:nvPr/>
        </p:nvSpPr>
        <p:spPr>
          <a:xfrm>
            <a:off x="358775" y="2333934"/>
            <a:ext cx="383835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2) When a new object is instantiated __</a:t>
            </a:r>
            <a:r>
              <a:rPr lang="en-US" err="1"/>
              <a:t>init</a:t>
            </a:r>
            <a:r>
              <a:rPr lang="en-US"/>
              <a:t>__ is called (constructor method)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645941CC-CD96-2073-FED3-15C7E4B4F9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001" y="2841660"/>
            <a:ext cx="4043102" cy="409493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A7A4CDC-C6E6-F46B-C841-778BB46C94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001" y="3776838"/>
            <a:ext cx="4043098" cy="409493"/>
          </a:xfrm>
          <a:prstGeom prst="rect">
            <a:avLst/>
          </a:prstGeom>
        </p:spPr>
      </p:pic>
      <p:sp>
        <p:nvSpPr>
          <p:cNvPr id="53" name="Textfeld 52">
            <a:extLst>
              <a:ext uri="{FF2B5EF4-FFF2-40B4-BE49-F238E27FC236}">
                <a16:creationId xmlns:a16="http://schemas.microsoft.com/office/drawing/2014/main" id="{1CB50B15-FB56-DB1A-1A38-D0AB78058ADC}"/>
              </a:ext>
            </a:extLst>
          </p:cNvPr>
          <p:cNvSpPr txBox="1"/>
          <p:nvPr/>
        </p:nvSpPr>
        <p:spPr>
          <a:xfrm>
            <a:off x="358774" y="3254002"/>
            <a:ext cx="383835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2) After instantiation, attributes and methods of the object can be called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22FE39C3-F627-C095-E259-83FD9C81FC75}"/>
              </a:ext>
            </a:extLst>
          </p:cNvPr>
          <p:cNvSpPr txBox="1"/>
          <p:nvPr/>
        </p:nvSpPr>
        <p:spPr>
          <a:xfrm>
            <a:off x="4662487" y="1382381"/>
            <a:ext cx="383835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The __str__ method should return a human readable string representation of the object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240BCD60-521C-4750-4384-CAA2C667C9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2834" y="1894612"/>
            <a:ext cx="4042961" cy="475152"/>
          </a:xfrm>
          <a:prstGeom prst="rect">
            <a:avLst/>
          </a:prstGeom>
        </p:spPr>
      </p:pic>
      <p:sp>
        <p:nvSpPr>
          <p:cNvPr id="56" name="Textfeld 55">
            <a:extLst>
              <a:ext uri="{FF2B5EF4-FFF2-40B4-BE49-F238E27FC236}">
                <a16:creationId xmlns:a16="http://schemas.microsoft.com/office/drawing/2014/main" id="{58265B1D-AAF0-B674-BFEB-B302199AD770}"/>
              </a:ext>
            </a:extLst>
          </p:cNvPr>
          <p:cNvSpPr txBox="1"/>
          <p:nvPr/>
        </p:nvSpPr>
        <p:spPr>
          <a:xfrm>
            <a:off x="4636076" y="2394734"/>
            <a:ext cx="383835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hen you want to print an object, the __str__ method is called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4902B330-FD86-6DB3-6E2B-7FAAF51328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2835" y="3750365"/>
            <a:ext cx="4042960" cy="475152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382CF978-D757-EB17-CE9C-9CA3EA7B74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2834" y="2864920"/>
            <a:ext cx="4043103" cy="362629"/>
          </a:xfrm>
          <a:prstGeom prst="rect">
            <a:avLst/>
          </a:prstGeom>
        </p:spPr>
      </p:pic>
      <p:sp>
        <p:nvSpPr>
          <p:cNvPr id="59" name="Textfeld 58">
            <a:extLst>
              <a:ext uri="{FF2B5EF4-FFF2-40B4-BE49-F238E27FC236}">
                <a16:creationId xmlns:a16="http://schemas.microsoft.com/office/drawing/2014/main" id="{BCB7EA73-9C56-8761-065B-B92EDC3B1B6E}"/>
              </a:ext>
            </a:extLst>
          </p:cNvPr>
          <p:cNvSpPr txBox="1"/>
          <p:nvPr/>
        </p:nvSpPr>
        <p:spPr>
          <a:xfrm>
            <a:off x="4683406" y="3239734"/>
            <a:ext cx="41227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The __repr__ method on the other hand is used to return an internal string representation of the object</a:t>
            </a:r>
          </a:p>
        </p:txBody>
      </p:sp>
    </p:spTree>
    <p:extLst>
      <p:ext uri="{BB962C8B-B14F-4D97-AF65-F5344CB8AC3E}">
        <p14:creationId xmlns:p14="http://schemas.microsoft.com/office/powerpoint/2010/main" val="4005060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5F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cussion of assignment 4 and the respective quiz</a:t>
            </a:r>
          </a:p>
        </p:txBody>
      </p:sp>
    </p:spTree>
    <p:extLst>
      <p:ext uri="{BB962C8B-B14F-4D97-AF65-F5344CB8AC3E}">
        <p14:creationId xmlns:p14="http://schemas.microsoft.com/office/powerpoint/2010/main" val="8609055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CF30B5-E635-139C-ABCD-CB47E3F05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Inheritance</a:t>
            </a:r>
            <a:r>
              <a:rPr lang="de-DE"/>
              <a:t> (1/2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9C62D1-A53A-7B44-5922-4E62C7231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30</a:t>
            </a:fld>
            <a:endParaRPr lang="en-GB"/>
          </a:p>
        </p:txBody>
      </p:sp>
      <p:pic>
        <p:nvPicPr>
          <p:cNvPr id="5122" name="Picture 2" descr="1.7: OOP Inheritance - Engineering LibreTexts">
            <a:extLst>
              <a:ext uri="{FF2B5EF4-FFF2-40B4-BE49-F238E27FC236}">
                <a16:creationId xmlns:a16="http://schemas.microsoft.com/office/drawing/2014/main" id="{07A58896-91BF-723C-7096-035AE7564A04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41" y="1641181"/>
            <a:ext cx="3835400" cy="26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C++ Inheritance">
            <a:extLst>
              <a:ext uri="{FF2B5EF4-FFF2-40B4-BE49-F238E27FC236}">
                <a16:creationId xmlns:a16="http://schemas.microsoft.com/office/drawing/2014/main" id="{CC564C88-EFFE-10F3-3CBD-199BA9D05B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351148"/>
            <a:ext cx="2959159" cy="322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A50CCEE0-D209-FDC7-076B-AF6D5544A220}"/>
              </a:ext>
            </a:extLst>
          </p:cNvPr>
          <p:cNvSpPr txBox="1"/>
          <p:nvPr/>
        </p:nvSpPr>
        <p:spPr>
          <a:xfrm>
            <a:off x="358775" y="810734"/>
            <a:ext cx="49752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Sub </a:t>
            </a:r>
            <a:r>
              <a:rPr lang="de-DE" err="1"/>
              <a:t>classes</a:t>
            </a:r>
            <a:r>
              <a:rPr lang="de-DE"/>
              <a:t> </a:t>
            </a:r>
            <a:r>
              <a:rPr lang="de-DE" err="1"/>
              <a:t>inherit</a:t>
            </a:r>
            <a:r>
              <a:rPr lang="de-DE"/>
              <a:t> </a:t>
            </a:r>
            <a:r>
              <a:rPr lang="de-DE" b="1" err="1"/>
              <a:t>attributes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super </a:t>
            </a:r>
            <a:r>
              <a:rPr lang="de-DE" err="1"/>
              <a:t>class</a:t>
            </a:r>
            <a:r>
              <a:rPr lang="de-DE"/>
              <a:t>(es) </a:t>
            </a:r>
          </a:p>
          <a:p>
            <a:r>
              <a:rPr lang="de-DE"/>
              <a:t>Sub </a:t>
            </a:r>
            <a:r>
              <a:rPr lang="de-DE" err="1"/>
              <a:t>classes</a:t>
            </a:r>
            <a:r>
              <a:rPr lang="de-DE"/>
              <a:t> </a:t>
            </a:r>
            <a:r>
              <a:rPr lang="de-DE" err="1"/>
              <a:t>inherit</a:t>
            </a:r>
            <a:r>
              <a:rPr lang="de-DE"/>
              <a:t> </a:t>
            </a:r>
            <a:r>
              <a:rPr lang="de-DE" b="1" err="1"/>
              <a:t>methods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super </a:t>
            </a:r>
            <a:r>
              <a:rPr lang="de-DE" err="1"/>
              <a:t>class</a:t>
            </a:r>
            <a:r>
              <a:rPr lang="de-DE"/>
              <a:t>(es)</a:t>
            </a:r>
          </a:p>
          <a:p>
            <a:r>
              <a:rPr lang="de-DE"/>
              <a:t>Every </a:t>
            </a:r>
            <a:r>
              <a:rPr lang="de-DE" err="1"/>
              <a:t>class</a:t>
            </a:r>
            <a:r>
              <a:rPr lang="de-DE"/>
              <a:t> </a:t>
            </a:r>
            <a:r>
              <a:rPr lang="de-DE" err="1"/>
              <a:t>inherits</a:t>
            </a:r>
            <a:r>
              <a:rPr lang="de-DE"/>
              <a:t> </a:t>
            </a:r>
            <a:r>
              <a:rPr lang="de-DE" err="1"/>
              <a:t>attributes</a:t>
            </a:r>
            <a:r>
              <a:rPr lang="de-DE"/>
              <a:t> and </a:t>
            </a:r>
            <a:r>
              <a:rPr lang="de-DE" err="1"/>
              <a:t>methods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b="1" err="1"/>
              <a:t>Object</a:t>
            </a:r>
            <a:r>
              <a:rPr lang="de-DE"/>
              <a:t> </a:t>
            </a:r>
            <a:r>
              <a:rPr lang="de-DE" err="1"/>
              <a:t>class</a:t>
            </a:r>
            <a:r>
              <a:rPr lang="de-DE"/>
              <a:t> 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53704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D0153A-D071-FD1D-8F04-E2788FC42D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24292"/>
            <a:ext cx="8426450" cy="609662"/>
          </a:xfrm>
        </p:spPr>
        <p:txBody>
          <a:bodyPr/>
          <a:lstStyle/>
          <a:p>
            <a:r>
              <a:rPr lang="de-DE" err="1"/>
              <a:t>Inheritance</a:t>
            </a:r>
            <a:r>
              <a:rPr lang="de-DE"/>
              <a:t> (2/2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C7DC7A7-6C1A-C320-7796-60AC7233B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31</a:t>
            </a:fld>
            <a:endParaRPr lang="en-GB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29A6573-8341-EC1C-E8DF-3C0136FC7E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02704" y="1730183"/>
            <a:ext cx="3878841" cy="137936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4BE3675-E79E-7D44-4096-63A5E81147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02704" y="3274421"/>
            <a:ext cx="3878841" cy="1379361"/>
          </a:xfrm>
          <a:prstGeom prst="rect">
            <a:avLst/>
          </a:prstGeom>
        </p:spPr>
      </p:pic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6606EA87-B3AC-7F38-21D4-302A6C580DAC}"/>
              </a:ext>
            </a:extLst>
          </p:cNvPr>
          <p:cNvCxnSpPr>
            <a:cxnSpLocks/>
            <a:stCxn id="10" idx="1"/>
            <a:endCxn id="17" idx="3"/>
          </p:cNvCxnSpPr>
          <p:nvPr/>
        </p:nvCxnSpPr>
        <p:spPr>
          <a:xfrm flipH="1">
            <a:off x="4503915" y="2419864"/>
            <a:ext cx="395110" cy="7750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0A1A2440-30D7-DCA0-F543-4979D8D2E0D6}"/>
              </a:ext>
            </a:extLst>
          </p:cNvPr>
          <p:cNvCxnSpPr>
            <a:cxnSpLocks/>
            <a:stCxn id="11" idx="1"/>
            <a:endCxn id="17" idx="3"/>
          </p:cNvCxnSpPr>
          <p:nvPr/>
        </p:nvCxnSpPr>
        <p:spPr>
          <a:xfrm flipH="1" flipV="1">
            <a:off x="4503915" y="3194914"/>
            <a:ext cx="395110" cy="7691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D391E8D5-7D87-10A4-EFAD-BE711183D5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5" y="1738596"/>
            <a:ext cx="4145140" cy="2912635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713BACB4-1606-6D17-ED88-799842EB82BB}"/>
              </a:ext>
            </a:extLst>
          </p:cNvPr>
          <p:cNvSpPr txBox="1"/>
          <p:nvPr/>
        </p:nvSpPr>
        <p:spPr>
          <a:xfrm>
            <a:off x="358775" y="549134"/>
            <a:ext cx="8211698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to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reat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a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ubclas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of a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las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w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us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th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following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yntax</a:t>
            </a:r>
            <a:endParaRPr lang="de-CH" b="0">
              <a:solidFill>
                <a:srgbClr val="383A42"/>
              </a:solidFill>
              <a:effectLst/>
              <a:latin typeface="Menlo" panose="020B0609030804020204" pitchFamily="49" charset="0"/>
            </a:endParaRPr>
          </a:p>
          <a:p>
            <a:r>
              <a:rPr lang="de-CH" b="0" err="1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class</a:t>
            </a:r>
            <a:r>
              <a:rPr lang="de-CH" b="0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err="1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SubClass</a:t>
            </a:r>
            <a:r>
              <a:rPr lang="de-CH" b="0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de-CH" b="0" err="1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ParentClass</a:t>
            </a:r>
            <a:r>
              <a:rPr lang="de-CH" b="0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)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:</a:t>
            </a:r>
          </a:p>
          <a:p>
            <a:r>
              <a:rPr lang="de-CH" b="0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	</a:t>
            </a:r>
            <a:r>
              <a:rPr lang="de-CH" b="0" err="1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de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__</a:t>
            </a:r>
            <a:r>
              <a:rPr lang="de-CH" b="0" err="1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init</a:t>
            </a:r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__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de-CH" b="0" err="1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,</a:t>
            </a:r>
            <a:r>
              <a:rPr lang="de-CH" b="0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 param1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,</a:t>
            </a:r>
            <a:r>
              <a:rPr lang="de-CH" b="0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 param2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):</a:t>
            </a:r>
          </a:p>
          <a:p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	super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).</a:t>
            </a:r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__</a:t>
            </a:r>
            <a:r>
              <a:rPr lang="de-CH" b="0" err="1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init</a:t>
            </a:r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__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param1) 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super()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all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parent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las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’</a:t>
            </a: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 </a:t>
            </a:r>
            <a:r>
              <a:rPr lang="de-CH" i="1" err="1">
                <a:solidFill>
                  <a:srgbClr val="A0A1A7"/>
                </a:solidFill>
                <a:latin typeface="Menlo" panose="020B0609030804020204" pitchFamily="49" charset="0"/>
              </a:rPr>
              <a:t>constructor</a:t>
            </a: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 – </a:t>
            </a:r>
            <a:r>
              <a:rPr lang="de-CH" i="1" err="1">
                <a:solidFill>
                  <a:srgbClr val="A0A1A7"/>
                </a:solidFill>
                <a:latin typeface="Menlo" panose="020B0609030804020204" pitchFamily="49" charset="0"/>
              </a:rPr>
              <a:t>needed</a:t>
            </a: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 because </a:t>
            </a:r>
            <a:r>
              <a:rPr lang="de-CH" i="1" err="1">
                <a:solidFill>
                  <a:srgbClr val="A0A1A7"/>
                </a:solidFill>
                <a:latin typeface="Menlo" panose="020B0609030804020204" pitchFamily="49" charset="0"/>
              </a:rPr>
              <a:t>overwritten</a:t>
            </a: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 __</a:t>
            </a:r>
            <a:r>
              <a:rPr lang="de-CH" i="1" err="1">
                <a:solidFill>
                  <a:srgbClr val="A0A1A7"/>
                </a:solidFill>
                <a:latin typeface="Menlo" panose="020B0609030804020204" pitchFamily="49" charset="0"/>
              </a:rPr>
              <a:t>init</a:t>
            </a: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__</a:t>
            </a:r>
          </a:p>
          <a:p>
            <a:r>
              <a:rPr lang="de-CH" b="0">
                <a:solidFill>
                  <a:srgbClr val="E45649"/>
                </a:solidFill>
                <a:effectLst/>
                <a:latin typeface="Menlo" panose="020B0609030804020204" pitchFamily="49" charset="0"/>
              </a:rPr>
              <a:t>	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.param2 = param2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215328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D41919-557B-6996-7CAE-6FE98446F2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Polymorphism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CC439D6-5B63-EAA2-3ADD-7051B4470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32</a:t>
            </a:fld>
            <a:endParaRPr lang="en-GB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CBE07849-60E6-8476-69FC-A0231FCD69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49094"/>
            <a:ext cx="4915129" cy="1859866"/>
          </a:xfrm>
        </p:spPr>
        <p:txBody>
          <a:bodyPr vert="horz" lIns="0" tIns="0" rIns="0" bIns="0" rtlCol="0" anchor="t">
            <a:normAutofit fontScale="92500"/>
          </a:bodyPr>
          <a:lstStyle/>
          <a:p>
            <a:pPr marL="179705" indent="-179705"/>
            <a:r>
              <a:rPr lang="de-CH" sz="1800">
                <a:effectLst/>
                <a:latin typeface="Gill Sans Nova"/>
              </a:rPr>
              <a:t>Methods </a:t>
            </a:r>
            <a:r>
              <a:rPr lang="de-CH" sz="1800" err="1">
                <a:effectLst/>
                <a:latin typeface="Gill Sans Nova"/>
              </a:rPr>
              <a:t>from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the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parent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class</a:t>
            </a:r>
            <a:r>
              <a:rPr lang="de-CH" sz="1800">
                <a:effectLst/>
                <a:latin typeface="Gill Sans Nova"/>
              </a:rPr>
              <a:t>, e.g., </a:t>
            </a:r>
            <a:r>
              <a:rPr lang="de-CH" sz="1800" err="1">
                <a:effectLst/>
                <a:latin typeface="Gill Sans Nova"/>
              </a:rPr>
              <a:t>walk</a:t>
            </a:r>
            <a:r>
              <a:rPr lang="de-CH" sz="1800">
                <a:effectLst/>
                <a:latin typeface="Gill Sans Nova"/>
              </a:rPr>
              <a:t>() </a:t>
            </a:r>
            <a:r>
              <a:rPr lang="de-CH" sz="1800" err="1">
                <a:effectLst/>
                <a:latin typeface="Gill Sans Nova"/>
              </a:rPr>
              <a:t>can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be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executed</a:t>
            </a:r>
            <a:r>
              <a:rPr lang="de-CH" sz="1800">
                <a:effectLst/>
                <a:latin typeface="Gill Sans Nova"/>
              </a:rPr>
              <a:t> on </a:t>
            </a:r>
            <a:r>
              <a:rPr lang="de-CH" sz="1800" err="1">
                <a:effectLst/>
                <a:latin typeface="Gill Sans Nova"/>
              </a:rPr>
              <a:t>every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object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of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the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child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classes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>
                <a:effectLst/>
                <a:latin typeface="Gill Sans Nova,Italic" panose="020B0502020104020203" pitchFamily="34" charset="-79"/>
                <a:cs typeface="Gill Sans Nova,Italic"/>
              </a:rPr>
              <a:t>Cat </a:t>
            </a:r>
            <a:r>
              <a:rPr lang="de-CH" sz="1800">
                <a:effectLst/>
                <a:latin typeface="Gill Sans Nova"/>
              </a:rPr>
              <a:t>and </a:t>
            </a:r>
            <a:r>
              <a:rPr lang="de-CH" sz="1800">
                <a:effectLst/>
                <a:latin typeface="Gill Sans Nova,Italic" panose="020B0502020104020203" pitchFamily="34" charset="-79"/>
                <a:cs typeface="Gill Sans Nova,Italic"/>
              </a:rPr>
              <a:t>Dog </a:t>
            </a:r>
            <a:r>
              <a:rPr lang="de-CH" sz="1800">
                <a:effectLst/>
                <a:latin typeface="Gill Sans Nova"/>
              </a:rPr>
              <a:t>and will </a:t>
            </a:r>
            <a:r>
              <a:rPr lang="de-CH" sz="1800" err="1">
                <a:effectLst/>
                <a:latin typeface="Gill Sans Nova"/>
              </a:rPr>
              <a:t>always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work</a:t>
            </a:r>
            <a:endParaRPr lang="de-CH" sz="1800">
              <a:effectLst/>
              <a:latin typeface="Gill Sans Nova"/>
            </a:endParaRPr>
          </a:p>
          <a:p>
            <a:pPr marL="179705" indent="-179705"/>
            <a:r>
              <a:rPr lang="de-CH" sz="1800">
                <a:latin typeface="Gill Sans Nova"/>
              </a:rPr>
              <a:t>Child </a:t>
            </a:r>
            <a:r>
              <a:rPr lang="de-CH" sz="1800" err="1">
                <a:latin typeface="Gill Sans Nova"/>
              </a:rPr>
              <a:t>classes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can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add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specialized</a:t>
            </a:r>
            <a:r>
              <a:rPr lang="de-CH" sz="1800">
                <a:latin typeface="Gill Sans Nova"/>
              </a:rPr>
              <a:t> «</a:t>
            </a:r>
            <a:r>
              <a:rPr lang="de-CH" sz="1800" err="1">
                <a:latin typeface="Gill Sans Nova"/>
              </a:rPr>
              <a:t>behaviour</a:t>
            </a:r>
            <a:r>
              <a:rPr lang="de-CH" sz="1800">
                <a:latin typeface="Gill Sans Nova"/>
              </a:rPr>
              <a:t>» </a:t>
            </a:r>
            <a:r>
              <a:rPr lang="de-CH" sz="1800" err="1">
                <a:latin typeface="Gill Sans Nova"/>
              </a:rPr>
              <a:t>to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extend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the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base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classes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functionality</a:t>
            </a:r>
            <a:r>
              <a:rPr lang="de-CH" sz="1800">
                <a:latin typeface="Gill Sans Nova"/>
              </a:rPr>
              <a:t>, </a:t>
            </a:r>
            <a:r>
              <a:rPr lang="de-CH" sz="1800" err="1">
                <a:latin typeface="Gill Sans Nova"/>
              </a:rPr>
              <a:t>the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class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cat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could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for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example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overwrite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the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walk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method</a:t>
            </a:r>
            <a:r>
              <a:rPr lang="de-CH" sz="1800">
                <a:latin typeface="Gill Sans Nova"/>
              </a:rPr>
              <a:t> and </a:t>
            </a:r>
            <a:r>
              <a:rPr lang="de-CH" sz="1800" err="1">
                <a:latin typeface="Gill Sans Nova"/>
              </a:rPr>
              <a:t>specify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that</a:t>
            </a:r>
            <a:r>
              <a:rPr lang="de-CH" sz="1800">
                <a:latin typeface="Gill Sans Nova"/>
              </a:rPr>
              <a:t> a </a:t>
            </a:r>
            <a:r>
              <a:rPr lang="de-CH" sz="1800" err="1">
                <a:latin typeface="Gill Sans Nova"/>
              </a:rPr>
              <a:t>cat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looses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less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weight</a:t>
            </a:r>
            <a:r>
              <a:rPr lang="de-CH" sz="1800">
                <a:latin typeface="Gill Sans Nova"/>
              </a:rPr>
              <a:t> compared </a:t>
            </a:r>
            <a:r>
              <a:rPr lang="de-CH" sz="1800" err="1">
                <a:latin typeface="Gill Sans Nova"/>
              </a:rPr>
              <a:t>to</a:t>
            </a:r>
            <a:r>
              <a:rPr lang="de-CH" sz="1800">
                <a:latin typeface="Gill Sans Nova"/>
              </a:rPr>
              <a:t> a </a:t>
            </a:r>
            <a:r>
              <a:rPr lang="de-CH" sz="1800" err="1">
                <a:latin typeface="Gill Sans Nova"/>
              </a:rPr>
              <a:t>default</a:t>
            </a:r>
            <a:r>
              <a:rPr lang="de-CH" sz="1800">
                <a:latin typeface="Gill Sans Nova"/>
              </a:rPr>
              <a:t> Animal</a:t>
            </a:r>
          </a:p>
          <a:p>
            <a:pPr marL="179705" indent="-179705"/>
            <a:endParaRPr lang="de-CH" sz="1800">
              <a:effectLst/>
              <a:latin typeface="Gill Sans Nova" panose="020B0602020104020203" pitchFamily="34" charset="0"/>
            </a:endParaRPr>
          </a:p>
          <a:p>
            <a:pPr marL="179705" indent="-179705"/>
            <a:endParaRPr lang="de-CH" sz="1800">
              <a:latin typeface="Gill Sans Nova" panose="020B0602020104020203" pitchFamily="34" charset="0"/>
            </a:endParaRPr>
          </a:p>
          <a:p>
            <a:pPr marL="179705" indent="-179705"/>
            <a:endParaRPr lang="de-CH" sz="1800">
              <a:latin typeface="Gill Sans Nova" panose="020B0602020104020203" pitchFamily="34" charset="0"/>
            </a:endParaRPr>
          </a:p>
          <a:p>
            <a:pPr marL="179705" indent="-179705"/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A00B2E-96DD-CF9E-CD04-748F77981C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60265" y="985900"/>
            <a:ext cx="3110208" cy="3306789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3E19209-6A46-BD2B-7326-646EE8EC7C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654" b="51792"/>
          <a:stretch/>
        </p:blipFill>
        <p:spPr>
          <a:xfrm>
            <a:off x="358775" y="3495772"/>
            <a:ext cx="5100873" cy="79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860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9B7E2F-B713-F0E3-F04B-FBD3BD7568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Encapsulation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820FB1-7DCE-D1D9-8EDD-2B759BBBA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33</a:t>
            </a:fld>
            <a:endParaRPr lang="en-GB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D4A5C4-488A-D8B7-490D-DE117B45E7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862237"/>
            <a:ext cx="7772400" cy="3419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11770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EA407A-0B5B-9B6F-C9D4-877962AE18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oop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798E7F-D0FE-57B3-4521-9426C485AA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sz="2800" i="1" dirty="0"/>
              <a:t>To </a:t>
            </a:r>
            <a:r>
              <a:rPr lang="de-CH" sz="2800" i="1" dirty="0" err="1"/>
              <a:t>read</a:t>
            </a:r>
            <a:r>
              <a:rPr lang="de-CH" sz="2800" i="1" dirty="0"/>
              <a:t> </a:t>
            </a:r>
            <a:r>
              <a:rPr lang="de-CH" sz="2800" i="1" dirty="0" err="1"/>
              <a:t>up</a:t>
            </a:r>
            <a:endParaRPr lang="en-GB" sz="2800" i="1" dirty="0"/>
          </a:p>
        </p:txBody>
      </p:sp>
    </p:spTree>
    <p:extLst>
      <p:ext uri="{BB962C8B-B14F-4D97-AF65-F5344CB8AC3E}">
        <p14:creationId xmlns:p14="http://schemas.microsoft.com/office/powerpoint/2010/main" val="13449156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EA407A-0B5B-9B6F-C9D4-877962AE18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Exercise</a:t>
            </a:r>
            <a:r>
              <a:rPr lang="de-CH"/>
              <a:t> 5: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798E7F-D0FE-57B3-4521-9426C485AA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7999" y="3548063"/>
            <a:ext cx="7661093" cy="931862"/>
          </a:xfrm>
        </p:spPr>
        <p:txBody>
          <a:bodyPr/>
          <a:lstStyle/>
          <a:p>
            <a:r>
              <a:rPr lang="en-GB" sz="2800" i="1" dirty="0"/>
              <a:t>Let’s solve the exercise together…</a:t>
            </a:r>
          </a:p>
          <a:p>
            <a:r>
              <a:rPr lang="en-GB" sz="2800" i="1" dirty="0"/>
              <a:t>…to enable you to solve the assignment on your own!</a:t>
            </a:r>
          </a:p>
          <a:p>
            <a:endParaRPr lang="en-GB" sz="2800" i="1" dirty="0"/>
          </a:p>
        </p:txBody>
      </p:sp>
    </p:spTree>
    <p:extLst>
      <p:ext uri="{BB962C8B-B14F-4D97-AF65-F5344CB8AC3E}">
        <p14:creationId xmlns:p14="http://schemas.microsoft.com/office/powerpoint/2010/main" val="22994326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867" y="435504"/>
            <a:ext cx="7237225" cy="2496171"/>
          </a:xfrm>
        </p:spPr>
        <p:txBody>
          <a:bodyPr/>
          <a:lstStyle/>
          <a:p>
            <a:r>
              <a:rPr lang="en-US" dirty="0"/>
              <a:t>Excursus:</a:t>
            </a:r>
            <a:br>
              <a:rPr lang="en-US" dirty="0"/>
            </a:br>
            <a:r>
              <a:rPr lang="en-US" dirty="0"/>
              <a:t>Getter, Setter &amp;</a:t>
            </a:r>
            <a:br>
              <a:rPr lang="en-US" dirty="0"/>
            </a:br>
            <a:r>
              <a:rPr lang="en-US" dirty="0"/>
              <a:t>@ Decorator</a:t>
            </a:r>
          </a:p>
        </p:txBody>
      </p:sp>
    </p:spTree>
    <p:extLst>
      <p:ext uri="{BB962C8B-B14F-4D97-AF65-F5344CB8AC3E}">
        <p14:creationId xmlns:p14="http://schemas.microsoft.com/office/powerpoint/2010/main" val="240447951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Access attributes directl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055D0-88FC-814E-85AF-F5DD6D2473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146490"/>
            <a:ext cx="3152802" cy="3333435"/>
          </a:xfrm>
        </p:spPr>
        <p:txBody>
          <a:bodyPr vert="horz" lIns="90000" tIns="144000" rIns="54000" bIns="54000" rtlCol="0">
            <a:normAutofit/>
          </a:bodyPr>
          <a:lstStyle/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ABB2ADA-E1DB-4B4A-B517-713666D358EF}"/>
              </a:ext>
            </a:extLst>
          </p:cNvPr>
          <p:cNvSpPr txBox="1">
            <a:spLocks/>
          </p:cNvSpPr>
          <p:nvPr/>
        </p:nvSpPr>
        <p:spPr>
          <a:xfrm>
            <a:off x="3700732" y="483080"/>
            <a:ext cx="5084493" cy="3996846"/>
          </a:xfrm>
          <a:prstGeom prst="rect">
            <a:avLst/>
          </a:prstGeo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US" smtClean="0"/>
              <a:pPr>
                <a:spcAft>
                  <a:spcPts val="600"/>
                </a:spcAft>
              </a:pPr>
              <a:t>37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8147645-F5CB-BEB3-601A-C12CBC4FBB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2001" y="966383"/>
            <a:ext cx="759637" cy="215444"/>
          </a:xfrm>
        </p:spPr>
        <p:txBody>
          <a:bodyPr/>
          <a:lstStyle/>
          <a:p>
            <a:r>
              <a:rPr lang="en-US"/>
              <a:t>Logic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C780FA-8826-4B47-9CC6-3C3ACC11BFD0}"/>
              </a:ext>
            </a:extLst>
          </p:cNvPr>
          <p:cNvSpPr txBox="1"/>
          <p:nvPr/>
        </p:nvSpPr>
        <p:spPr>
          <a:xfrm>
            <a:off x="7387182" y="1935452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41F384-C23E-E548-BB2B-CE9595ECA059}"/>
              </a:ext>
            </a:extLst>
          </p:cNvPr>
          <p:cNvSpPr txBox="1"/>
          <p:nvPr/>
        </p:nvSpPr>
        <p:spPr>
          <a:xfrm>
            <a:off x="7387182" y="206128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75E9984-71DA-8845-A21A-D249DB7CC22A}"/>
              </a:ext>
            </a:extLst>
          </p:cNvPr>
          <p:cNvSpPr txBox="1"/>
          <p:nvPr/>
        </p:nvSpPr>
        <p:spPr>
          <a:xfrm>
            <a:off x="7387182" y="231295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404B6C-A24A-7C49-9A6B-8279E0EF54EB}"/>
              </a:ext>
            </a:extLst>
          </p:cNvPr>
          <p:cNvSpPr txBox="1"/>
          <p:nvPr/>
        </p:nvSpPr>
        <p:spPr>
          <a:xfrm>
            <a:off x="7387182" y="2455569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50BB7BA-3E97-EF47-BB7E-A91C0C05CFC9}"/>
              </a:ext>
            </a:extLst>
          </p:cNvPr>
          <p:cNvSpPr txBox="1"/>
          <p:nvPr/>
        </p:nvSpPr>
        <p:spPr>
          <a:xfrm>
            <a:off x="7387182" y="2682072"/>
            <a:ext cx="681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ello”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CF3D053-1391-1D49-BA69-D55FE11DBE81}"/>
              </a:ext>
            </a:extLst>
          </p:cNvPr>
          <p:cNvSpPr txBox="1"/>
          <p:nvPr/>
        </p:nvSpPr>
        <p:spPr>
          <a:xfrm>
            <a:off x="7387182" y="2816296"/>
            <a:ext cx="782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World!”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8402065-B0C1-1FFD-5746-47118007C7AA}"/>
              </a:ext>
            </a:extLst>
          </p:cNvPr>
          <p:cNvSpPr txBox="1"/>
          <p:nvPr/>
        </p:nvSpPr>
        <p:spPr>
          <a:xfrm>
            <a:off x="412001" y="1393579"/>
            <a:ext cx="303856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/>
              <a:t>We define a class with an object attribute</a:t>
            </a:r>
          </a:p>
          <a:p>
            <a:pPr marL="342900" indent="-342900">
              <a:buAutoNum type="arabicParenR"/>
            </a:pPr>
            <a:endParaRPr lang="en-US"/>
          </a:p>
          <a:p>
            <a:pPr marL="342900" indent="-342900">
              <a:buAutoNum type="arabicParenR"/>
            </a:pPr>
            <a:r>
              <a:rPr lang="en-US"/>
              <a:t>The object attribute can be manipulated by directly accessing it</a:t>
            </a:r>
          </a:p>
          <a:p>
            <a:pPr marL="342900" indent="-342900">
              <a:buAutoNum type="arabicParenR"/>
            </a:pPr>
            <a:endParaRPr lang="en-US"/>
          </a:p>
          <a:p>
            <a:pPr marL="342900" indent="-342900">
              <a:buAutoNum type="arabicParenR"/>
            </a:pPr>
            <a:r>
              <a:rPr lang="en-US"/>
              <a:t>Thus, there are no checks and no protection </a:t>
            </a:r>
            <a:r>
              <a:rPr lang="en-US" b="1">
                <a:sym typeface="Wingdings" panose="05000000000000000000" pitchFamily="2" charset="2"/>
              </a:rPr>
              <a:t> This is not OOP</a:t>
            </a:r>
            <a:endParaRPr lang="en-US" b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362B25-9F4C-89DC-157D-3D8145E086C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69744" y="376238"/>
            <a:ext cx="1438987" cy="222841"/>
          </a:xfrm>
        </p:spPr>
        <p:txBody>
          <a:bodyPr/>
          <a:lstStyle/>
          <a:p>
            <a:r>
              <a:rPr lang="de-CH"/>
              <a:t>Code</a:t>
            </a:r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2D5D8D-D185-65BD-F898-745062A80542}"/>
              </a:ext>
            </a:extLst>
          </p:cNvPr>
          <p:cNvSpPr txBox="1"/>
          <p:nvPr/>
        </p:nvSpPr>
        <p:spPr>
          <a:xfrm>
            <a:off x="3769744" y="630112"/>
            <a:ext cx="4963694" cy="378565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*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.8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 +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2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Create a new object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</a:t>
            </a: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Set the 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7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Get the temperature attribut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Get the </a:t>
            </a:r>
            <a:r>
              <a:rPr lang="en-GB" sz="1200" b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 method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)</a:t>
            </a:r>
          </a:p>
          <a:p>
            <a:endParaRPr lang="en-GB" sz="12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2411E-5DC3-71FB-4685-5914CD85A9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8940" y="3752051"/>
            <a:ext cx="1390660" cy="581029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175705110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vert="horz" lIns="0" tIns="0" rIns="0" bIns="0" rtlCol="0" anchor="t">
            <a:normAutofit fontScale="90000"/>
          </a:bodyPr>
          <a:lstStyle/>
          <a:p>
            <a:r>
              <a:rPr lang="en-US"/>
              <a:t>Attribute Protection</a:t>
            </a:r>
            <a:br>
              <a:rPr lang="en-US"/>
            </a:br>
            <a:r>
              <a:rPr lang="en-US" b="1">
                <a:solidFill>
                  <a:srgbClr val="FF0000"/>
                </a:solidFill>
              </a:rPr>
              <a:t>by Conven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055D0-88FC-814E-85AF-F5DD6D2473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146490"/>
            <a:ext cx="3152802" cy="3333435"/>
          </a:xfrm>
        </p:spPr>
        <p:txBody>
          <a:bodyPr vert="horz" lIns="90000" tIns="144000" rIns="54000" bIns="54000" rtlCol="0">
            <a:normAutofit/>
          </a:bodyPr>
          <a:lstStyle/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ABB2ADA-E1DB-4B4A-B517-713666D358EF}"/>
              </a:ext>
            </a:extLst>
          </p:cNvPr>
          <p:cNvSpPr txBox="1">
            <a:spLocks/>
          </p:cNvSpPr>
          <p:nvPr/>
        </p:nvSpPr>
        <p:spPr>
          <a:xfrm>
            <a:off x="3700732" y="483080"/>
            <a:ext cx="5084493" cy="3996846"/>
          </a:xfrm>
          <a:prstGeom prst="rect">
            <a:avLst/>
          </a:prstGeo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US" smtClean="0"/>
              <a:pPr>
                <a:spcAft>
                  <a:spcPts val="600"/>
                </a:spcAft>
              </a:pPr>
              <a:t>38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8147645-F5CB-BEB3-601A-C12CBC4FBB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2001" y="966383"/>
            <a:ext cx="759637" cy="215444"/>
          </a:xfrm>
        </p:spPr>
        <p:txBody>
          <a:bodyPr/>
          <a:lstStyle/>
          <a:p>
            <a:r>
              <a:rPr lang="en-US"/>
              <a:t>Logic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C780FA-8826-4B47-9CC6-3C3ACC11BFD0}"/>
              </a:ext>
            </a:extLst>
          </p:cNvPr>
          <p:cNvSpPr txBox="1"/>
          <p:nvPr/>
        </p:nvSpPr>
        <p:spPr>
          <a:xfrm>
            <a:off x="7387182" y="1935452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41F384-C23E-E548-BB2B-CE9595ECA059}"/>
              </a:ext>
            </a:extLst>
          </p:cNvPr>
          <p:cNvSpPr txBox="1"/>
          <p:nvPr/>
        </p:nvSpPr>
        <p:spPr>
          <a:xfrm>
            <a:off x="7387182" y="206128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75E9984-71DA-8845-A21A-D249DB7CC22A}"/>
              </a:ext>
            </a:extLst>
          </p:cNvPr>
          <p:cNvSpPr txBox="1"/>
          <p:nvPr/>
        </p:nvSpPr>
        <p:spPr>
          <a:xfrm>
            <a:off x="7387182" y="231295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404B6C-A24A-7C49-9A6B-8279E0EF54EB}"/>
              </a:ext>
            </a:extLst>
          </p:cNvPr>
          <p:cNvSpPr txBox="1"/>
          <p:nvPr/>
        </p:nvSpPr>
        <p:spPr>
          <a:xfrm>
            <a:off x="7387182" y="2455569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50BB7BA-3E97-EF47-BB7E-A91C0C05CFC9}"/>
              </a:ext>
            </a:extLst>
          </p:cNvPr>
          <p:cNvSpPr txBox="1"/>
          <p:nvPr/>
        </p:nvSpPr>
        <p:spPr>
          <a:xfrm>
            <a:off x="7387182" y="2682072"/>
            <a:ext cx="681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ello”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CF3D053-1391-1D49-BA69-D55FE11DBE81}"/>
              </a:ext>
            </a:extLst>
          </p:cNvPr>
          <p:cNvSpPr txBox="1"/>
          <p:nvPr/>
        </p:nvSpPr>
        <p:spPr>
          <a:xfrm>
            <a:off x="7387182" y="2816296"/>
            <a:ext cx="782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World!”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8402065-B0C1-1FFD-5746-47118007C7AA}"/>
              </a:ext>
            </a:extLst>
          </p:cNvPr>
          <p:cNvSpPr txBox="1"/>
          <p:nvPr/>
        </p:nvSpPr>
        <p:spPr>
          <a:xfrm>
            <a:off x="412001" y="1271355"/>
            <a:ext cx="3038565" cy="3208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/>
              <a:t>In </a:t>
            </a:r>
            <a:r>
              <a:rPr lang="en-US" err="1"/>
              <a:t>Celsius_Protected</a:t>
            </a:r>
            <a:r>
              <a:rPr lang="en-US"/>
              <a:t> _temperature is only protected by convention (you should not access attributes with one _ from outside the class).</a:t>
            </a:r>
          </a:p>
          <a:p>
            <a:pPr marL="342900" indent="-342900">
              <a:buAutoNum type="arabicParenR"/>
            </a:pPr>
            <a:endParaRPr lang="en-US" b="1"/>
          </a:p>
          <a:p>
            <a:pPr marL="342900" indent="-342900">
              <a:buAutoNum type="arabicParenR"/>
            </a:pPr>
            <a:r>
              <a:rPr lang="en-US"/>
              <a:t>In </a:t>
            </a:r>
            <a:r>
              <a:rPr lang="en-US" err="1"/>
              <a:t>Celsius_Private</a:t>
            </a:r>
            <a:r>
              <a:rPr lang="en-US"/>
              <a:t> __temperature is protected more strongly:</a:t>
            </a:r>
          </a:p>
          <a:p>
            <a:pPr marL="449263" lvl="1" indent="-363538">
              <a:buFont typeface="+mj-lt"/>
              <a:buAutoNum type="alphaLcPeriod"/>
            </a:pPr>
            <a:r>
              <a:rPr lang="en-US"/>
              <a:t>You can not access it directly with </a:t>
            </a:r>
            <a:r>
              <a:rPr lang="en-US" err="1"/>
              <a:t>human.__temperature</a:t>
            </a:r>
            <a:r>
              <a:rPr lang="en-US"/>
              <a:t> from outside the class (workaround!).</a:t>
            </a:r>
          </a:p>
          <a:p>
            <a:pPr marL="449263" lvl="1" indent="-363538">
              <a:buFont typeface="+mj-lt"/>
              <a:buAutoNum type="alphaLcPeriod"/>
            </a:pPr>
            <a:r>
              <a:rPr lang="en-US"/>
              <a:t>If you write </a:t>
            </a:r>
            <a:r>
              <a:rPr lang="en-US" err="1"/>
              <a:t>human.__temperature</a:t>
            </a:r>
            <a:r>
              <a:rPr lang="en-US"/>
              <a:t> = 80 from outside the class you have 2 different __temperature in the object. The latter is accessible with </a:t>
            </a:r>
            <a:r>
              <a:rPr lang="en-US" err="1"/>
              <a:t>human.__temperature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362B25-9F4C-89DC-157D-3D8145E086C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69744" y="376238"/>
            <a:ext cx="1438987" cy="222841"/>
          </a:xfrm>
        </p:spPr>
        <p:txBody>
          <a:bodyPr/>
          <a:lstStyle/>
          <a:p>
            <a:r>
              <a:rPr lang="de-CH"/>
              <a:t>Code</a:t>
            </a:r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2D5D8D-D185-65BD-F898-745062A80542}"/>
              </a:ext>
            </a:extLst>
          </p:cNvPr>
          <p:cNvSpPr txBox="1"/>
          <p:nvPr/>
        </p:nvSpPr>
        <p:spPr>
          <a:xfrm>
            <a:off x="3769744" y="630112"/>
            <a:ext cx="4963694" cy="378565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_Protected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_Protected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</a:t>
            </a: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7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#######################################################</a:t>
            </a:r>
            <a:endParaRPr lang="en-GB" sz="1200"/>
          </a:p>
          <a:p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_Privat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_Privat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</a:t>
            </a:r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_Celsius_Private_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_Celsius_Private_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7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_Celsius_Private_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en-GB" sz="1200">
                <a:solidFill>
                  <a:srgbClr val="6A9955"/>
                </a:solidFill>
                <a:latin typeface="Consolas" panose="020B0609020204030204" pitchFamily="49" charset="0"/>
              </a:rPr>
              <a:t>print(</a:t>
            </a:r>
            <a:r>
              <a:rPr lang="en-GB" sz="1200" err="1">
                <a:solidFill>
                  <a:srgbClr val="6A9955"/>
                </a:solidFill>
                <a:latin typeface="Consolas" panose="020B0609020204030204" pitchFamily="49" charset="0"/>
              </a:rPr>
              <a:t>human.__temperature</a:t>
            </a:r>
            <a:r>
              <a:rPr lang="en-GB" sz="1200">
                <a:solidFill>
                  <a:srgbClr val="6A9955"/>
                </a:solidFill>
                <a:latin typeface="Consolas" panose="020B0609020204030204" pitchFamily="49" charset="0"/>
              </a:rPr>
              <a:t>) # does not work anymore</a:t>
            </a:r>
            <a:endParaRPr lang="en-GB" sz="120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80</a:t>
            </a: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  <a:endParaRPr lang="en-GB" sz="12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DD6DC94-4A63-922F-F461-0F6BD9BE4D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5748" y="1691546"/>
            <a:ext cx="323852" cy="419103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55C5C0C-FA41-CF2E-E0DC-2D171B879E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6223" y="3752051"/>
            <a:ext cx="333377" cy="581029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123608830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Getters &amp; Set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055D0-88FC-814E-85AF-F5DD6D2473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146490"/>
            <a:ext cx="3152802" cy="3333435"/>
          </a:xfrm>
        </p:spPr>
        <p:txBody>
          <a:bodyPr vert="horz" lIns="90000" tIns="144000" rIns="54000" bIns="54000" rtlCol="0">
            <a:normAutofit/>
          </a:bodyPr>
          <a:lstStyle/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ABB2ADA-E1DB-4B4A-B517-713666D358EF}"/>
              </a:ext>
            </a:extLst>
          </p:cNvPr>
          <p:cNvSpPr txBox="1">
            <a:spLocks/>
          </p:cNvSpPr>
          <p:nvPr/>
        </p:nvSpPr>
        <p:spPr>
          <a:xfrm>
            <a:off x="3700732" y="483080"/>
            <a:ext cx="5084493" cy="3996846"/>
          </a:xfrm>
          <a:prstGeom prst="rect">
            <a:avLst/>
          </a:prstGeo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US" smtClean="0"/>
              <a:pPr>
                <a:spcAft>
                  <a:spcPts val="600"/>
                </a:spcAft>
              </a:pPr>
              <a:t>39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8147645-F5CB-BEB3-601A-C12CBC4FBB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2001" y="966383"/>
            <a:ext cx="759637" cy="215444"/>
          </a:xfrm>
        </p:spPr>
        <p:txBody>
          <a:bodyPr/>
          <a:lstStyle/>
          <a:p>
            <a:r>
              <a:rPr lang="en-US"/>
              <a:t>Logic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C780FA-8826-4B47-9CC6-3C3ACC11BFD0}"/>
              </a:ext>
            </a:extLst>
          </p:cNvPr>
          <p:cNvSpPr txBox="1"/>
          <p:nvPr/>
        </p:nvSpPr>
        <p:spPr>
          <a:xfrm>
            <a:off x="7387182" y="1935452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41F384-C23E-E548-BB2B-CE9595ECA059}"/>
              </a:ext>
            </a:extLst>
          </p:cNvPr>
          <p:cNvSpPr txBox="1"/>
          <p:nvPr/>
        </p:nvSpPr>
        <p:spPr>
          <a:xfrm>
            <a:off x="7387182" y="206128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75E9984-71DA-8845-A21A-D249DB7CC22A}"/>
              </a:ext>
            </a:extLst>
          </p:cNvPr>
          <p:cNvSpPr txBox="1"/>
          <p:nvPr/>
        </p:nvSpPr>
        <p:spPr>
          <a:xfrm>
            <a:off x="7387182" y="231295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404B6C-A24A-7C49-9A6B-8279E0EF54EB}"/>
              </a:ext>
            </a:extLst>
          </p:cNvPr>
          <p:cNvSpPr txBox="1"/>
          <p:nvPr/>
        </p:nvSpPr>
        <p:spPr>
          <a:xfrm>
            <a:off x="7387182" y="2455569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50BB7BA-3E97-EF47-BB7E-A91C0C05CFC9}"/>
              </a:ext>
            </a:extLst>
          </p:cNvPr>
          <p:cNvSpPr txBox="1"/>
          <p:nvPr/>
        </p:nvSpPr>
        <p:spPr>
          <a:xfrm>
            <a:off x="7387182" y="2682072"/>
            <a:ext cx="681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ello”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CF3D053-1391-1D49-BA69-D55FE11DBE81}"/>
              </a:ext>
            </a:extLst>
          </p:cNvPr>
          <p:cNvSpPr txBox="1"/>
          <p:nvPr/>
        </p:nvSpPr>
        <p:spPr>
          <a:xfrm>
            <a:off x="7387182" y="2816296"/>
            <a:ext cx="782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World!”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8402065-B0C1-1FFD-5746-47118007C7AA}"/>
              </a:ext>
            </a:extLst>
          </p:cNvPr>
          <p:cNvSpPr txBox="1"/>
          <p:nvPr/>
        </p:nvSpPr>
        <p:spPr>
          <a:xfrm>
            <a:off x="412001" y="1393579"/>
            <a:ext cx="3038565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/>
              <a:t>We define a class that uses a setter to set the object attribute</a:t>
            </a:r>
          </a:p>
          <a:p>
            <a:pPr marL="342900" indent="-342900">
              <a:buAutoNum type="arabicParenR"/>
            </a:pPr>
            <a:endParaRPr lang="en-US"/>
          </a:p>
          <a:p>
            <a:pPr marL="342900" indent="-342900">
              <a:buAutoNum type="arabicParenR"/>
            </a:pPr>
            <a:r>
              <a:rPr lang="en-US"/>
              <a:t>The object attribute can be manipulated by using the setter and the getter</a:t>
            </a:r>
          </a:p>
          <a:p>
            <a:pPr marL="342900" indent="-342900">
              <a:buAutoNum type="arabicParenR"/>
            </a:pPr>
            <a:endParaRPr lang="en-US"/>
          </a:p>
          <a:p>
            <a:pPr marL="342900" indent="-342900">
              <a:buAutoNum type="arabicParenR"/>
            </a:pPr>
            <a:r>
              <a:rPr lang="en-US"/>
              <a:t>Thus, we can include checks and protection (</a:t>
            </a:r>
            <a:r>
              <a:rPr lang="en-US">
                <a:solidFill>
                  <a:srgbClr val="FF0000"/>
                </a:solidFill>
              </a:rPr>
              <a:t>note: </a:t>
            </a:r>
            <a:r>
              <a:rPr lang="en-US"/>
              <a:t>as seen before, there is no real protection, as programmer you should just stick to the _-convention) </a:t>
            </a:r>
            <a:br>
              <a:rPr lang="en-US"/>
            </a:br>
            <a:r>
              <a:rPr lang="en-US">
                <a:sym typeface="Wingdings" panose="05000000000000000000" pitchFamily="2" charset="2"/>
              </a:rPr>
              <a:t> </a:t>
            </a:r>
            <a:r>
              <a:rPr lang="en-US" b="1">
                <a:sym typeface="Wingdings" panose="05000000000000000000" pitchFamily="2" charset="2"/>
              </a:rPr>
              <a:t>This is OOP</a:t>
            </a:r>
            <a:br>
              <a:rPr lang="en-US" b="1">
                <a:sym typeface="Wingdings" panose="05000000000000000000" pitchFamily="2" charset="2"/>
              </a:rPr>
            </a:br>
            <a:r>
              <a:rPr lang="en-US" b="1">
                <a:sym typeface="Wingdings" panose="05000000000000000000" pitchFamily="2" charset="2"/>
              </a:rPr>
              <a:t> Can we do better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362B25-9F4C-89DC-157D-3D8145E086C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69744" y="376238"/>
            <a:ext cx="1438987" cy="222841"/>
          </a:xfrm>
        </p:spPr>
        <p:txBody>
          <a:bodyPr/>
          <a:lstStyle/>
          <a:p>
            <a:r>
              <a:rPr lang="de-CH"/>
              <a:t>Code</a:t>
            </a:r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2D5D8D-D185-65BD-F898-745062A80542}"/>
              </a:ext>
            </a:extLst>
          </p:cNvPr>
          <p:cNvSpPr txBox="1"/>
          <p:nvPr/>
        </p:nvSpPr>
        <p:spPr>
          <a:xfrm>
            <a:off x="3769744" y="630112"/>
            <a:ext cx="4963694" cy="378565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g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 *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.8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 +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2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g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&lt; -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73.15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ais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ValueError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“T &lt; -273.15 not possible"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</a:t>
            </a: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g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)</a:t>
            </a:r>
            <a:endParaRPr lang="en-GB" sz="120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37) </a:t>
            </a:r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try constraint with -300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g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)</a:t>
            </a:r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)</a:t>
            </a:r>
            <a:endParaRPr lang="en-GB" sz="12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CE2186C-CF34-DA5D-436B-9C59407D0C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23933" y="3794539"/>
            <a:ext cx="1249630" cy="556343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31303441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/>
              <a:t>Assignment 4 &amp; Quiz 4: What the questions were about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err="1"/>
              <a:t>recursion</a:t>
            </a:r>
            <a:endParaRPr lang="de-DE" b="1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map</a:t>
            </a:r>
            <a:r>
              <a:rPr lang="de-DE"/>
              <a:t>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iterable</a:t>
            </a:r>
            <a:r>
              <a:rPr lang="de-DE"/>
              <a:t> </a:t>
            </a:r>
            <a:r>
              <a:rPr lang="de-DE" err="1"/>
              <a:t>methods</a:t>
            </a:r>
            <a:r>
              <a:rPr lang="de-DE"/>
              <a:t>: </a:t>
            </a:r>
            <a:r>
              <a:rPr lang="de-DE" err="1"/>
              <a:t>sorted</a:t>
            </a:r>
            <a:r>
              <a:rPr lang="de-DE"/>
              <a:t> &amp; </a:t>
            </a:r>
            <a:r>
              <a:rPr lang="de-DE" err="1"/>
              <a:t>reversed</a:t>
            </a: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/>
              <a:t>A „</a:t>
            </a:r>
            <a:r>
              <a:rPr lang="de-DE" err="1"/>
              <a:t>complicated</a:t>
            </a:r>
            <a:r>
              <a:rPr lang="de-DE"/>
              <a:t>“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cod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b="1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60B48172-F822-F4B2-BC65-750C4214462F}"/>
              </a:ext>
            </a:extLst>
          </p:cNvPr>
          <p:cNvSpPr txBox="1">
            <a:spLocks/>
          </p:cNvSpPr>
          <p:nvPr/>
        </p:nvSpPr>
        <p:spPr>
          <a:xfrm>
            <a:off x="4662488" y="1426957"/>
            <a:ext cx="4122737" cy="290236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108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59B53215-B6F1-5EC0-B1AC-A12EE8961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453" y="1111125"/>
            <a:ext cx="4213225" cy="3437165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/>
          <a:p>
            <a:pPr marL="0" indent="0"/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a recursive function calls itself</a:t>
            </a:r>
            <a:endParaRPr lang="en-GB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GB" sz="1200" i="1">
              <a:latin typeface="Courier New"/>
              <a:cs typeface="Courier New"/>
              <a:sym typeface="Wingdings" pitchFamily="2" charset="2"/>
            </a:endParaRP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def fib(n):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</a:t>
            </a:r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don’t forget the </a:t>
            </a:r>
            <a:r>
              <a:rPr lang="en-GB" sz="1200" b="1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base condition(s)</a:t>
            </a:r>
            <a:endParaRPr lang="en-GB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if n == 0: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    return 0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</a:t>
            </a:r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don’t forget the </a:t>
            </a:r>
            <a:r>
              <a:rPr lang="en-GB" sz="1200" b="1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base condition(s)</a:t>
            </a:r>
            <a:endParaRPr lang="en-GB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</a:t>
            </a:r>
            <a:r>
              <a:rPr lang="en-GB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elif</a:t>
            </a:r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n == 1: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    return 1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else: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    return fib(n - 2) + fib(n - 1)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758B8CD-7D6B-CC0B-5225-823FC122B0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325" y="2891031"/>
            <a:ext cx="2352692" cy="143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99186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Using @ Decorat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055D0-88FC-814E-85AF-F5DD6D2473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146490"/>
            <a:ext cx="3152802" cy="3333435"/>
          </a:xfrm>
        </p:spPr>
        <p:txBody>
          <a:bodyPr vert="horz" lIns="90000" tIns="144000" rIns="54000" bIns="54000" rtlCol="0">
            <a:normAutofit/>
          </a:bodyPr>
          <a:lstStyle/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ABB2ADA-E1DB-4B4A-B517-713666D358EF}"/>
              </a:ext>
            </a:extLst>
          </p:cNvPr>
          <p:cNvSpPr txBox="1">
            <a:spLocks/>
          </p:cNvSpPr>
          <p:nvPr/>
        </p:nvSpPr>
        <p:spPr>
          <a:xfrm>
            <a:off x="3700732" y="222841"/>
            <a:ext cx="5084493" cy="4257085"/>
          </a:xfrm>
          <a:prstGeom prst="rect">
            <a:avLst/>
          </a:prstGeo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US" smtClean="0"/>
              <a:pPr>
                <a:spcAft>
                  <a:spcPts val="600"/>
                </a:spcAft>
              </a:pPr>
              <a:t>40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8147645-F5CB-BEB3-601A-C12CBC4FBB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2001" y="966383"/>
            <a:ext cx="759637" cy="215444"/>
          </a:xfrm>
        </p:spPr>
        <p:txBody>
          <a:bodyPr/>
          <a:lstStyle/>
          <a:p>
            <a:r>
              <a:rPr lang="en-US"/>
              <a:t>Logic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C780FA-8826-4B47-9CC6-3C3ACC11BFD0}"/>
              </a:ext>
            </a:extLst>
          </p:cNvPr>
          <p:cNvSpPr txBox="1"/>
          <p:nvPr/>
        </p:nvSpPr>
        <p:spPr>
          <a:xfrm>
            <a:off x="7387182" y="1935452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41F384-C23E-E548-BB2B-CE9595ECA059}"/>
              </a:ext>
            </a:extLst>
          </p:cNvPr>
          <p:cNvSpPr txBox="1"/>
          <p:nvPr/>
        </p:nvSpPr>
        <p:spPr>
          <a:xfrm>
            <a:off x="7387182" y="206128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75E9984-71DA-8845-A21A-D249DB7CC22A}"/>
              </a:ext>
            </a:extLst>
          </p:cNvPr>
          <p:cNvSpPr txBox="1"/>
          <p:nvPr/>
        </p:nvSpPr>
        <p:spPr>
          <a:xfrm>
            <a:off x="7387182" y="231295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404B6C-A24A-7C49-9A6B-8279E0EF54EB}"/>
              </a:ext>
            </a:extLst>
          </p:cNvPr>
          <p:cNvSpPr txBox="1"/>
          <p:nvPr/>
        </p:nvSpPr>
        <p:spPr>
          <a:xfrm>
            <a:off x="7387182" y="2455569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50BB7BA-3E97-EF47-BB7E-A91C0C05CFC9}"/>
              </a:ext>
            </a:extLst>
          </p:cNvPr>
          <p:cNvSpPr txBox="1"/>
          <p:nvPr/>
        </p:nvSpPr>
        <p:spPr>
          <a:xfrm>
            <a:off x="7387182" y="2682072"/>
            <a:ext cx="681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ello”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CF3D053-1391-1D49-BA69-D55FE11DBE81}"/>
              </a:ext>
            </a:extLst>
          </p:cNvPr>
          <p:cNvSpPr txBox="1"/>
          <p:nvPr/>
        </p:nvSpPr>
        <p:spPr>
          <a:xfrm>
            <a:off x="7387182" y="2816296"/>
            <a:ext cx="782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World!”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8402065-B0C1-1FFD-5746-47118007C7AA}"/>
              </a:ext>
            </a:extLst>
          </p:cNvPr>
          <p:cNvSpPr txBox="1"/>
          <p:nvPr/>
        </p:nvSpPr>
        <p:spPr>
          <a:xfrm>
            <a:off x="412001" y="1304011"/>
            <a:ext cx="303856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/>
              <a:t>We define a class that uses the @setter to set the object attribute.</a:t>
            </a:r>
          </a:p>
          <a:p>
            <a:pPr marL="342900" indent="-342900">
              <a:buAutoNum type="arabicParenR"/>
            </a:pPr>
            <a:endParaRPr lang="en-US"/>
          </a:p>
          <a:p>
            <a:pPr marL="342900" indent="-342900">
              <a:buAutoNum type="arabicParenR"/>
            </a:pPr>
            <a:r>
              <a:rPr lang="en-US"/>
              <a:t>The object attribute can be manipulated by using both @ methods. Python knows which one to use because the getter has no attribute [except self]) </a:t>
            </a:r>
            <a:r>
              <a:rPr lang="en-US">
                <a:sym typeface="Wingdings" panose="05000000000000000000" pitchFamily="2" charset="2"/>
              </a:rPr>
              <a:t> When</a:t>
            </a:r>
            <a:r>
              <a:rPr lang="en-US"/>
              <a:t> </a:t>
            </a:r>
            <a:r>
              <a:rPr lang="en-US" b="1" err="1"/>
              <a:t>self.temperature</a:t>
            </a:r>
            <a:r>
              <a:rPr lang="en-US" b="1"/>
              <a:t> </a:t>
            </a:r>
            <a:r>
              <a:rPr lang="en-US"/>
              <a:t>(or equivalently </a:t>
            </a:r>
            <a:r>
              <a:rPr lang="en-US" b="1" err="1"/>
              <a:t>human.temperature</a:t>
            </a:r>
            <a:r>
              <a:rPr lang="en-US"/>
              <a:t>) is called [</a:t>
            </a:r>
            <a:r>
              <a:rPr lang="en-US" i="1"/>
              <a:t>no () at the end; function=value is also a call</a:t>
            </a:r>
            <a:r>
              <a:rPr lang="en-US"/>
              <a:t>], Python checks if it is called with =value or not.</a:t>
            </a:r>
            <a:br>
              <a:rPr lang="en-US"/>
            </a:br>
            <a:r>
              <a:rPr lang="en-US" i="1"/>
              <a:t>Note: Be careful about the difference of .</a:t>
            </a:r>
            <a:r>
              <a:rPr lang="en-US"/>
              <a:t>temperature</a:t>
            </a:r>
            <a:r>
              <a:rPr lang="en-US" i="1"/>
              <a:t> &amp;</a:t>
            </a:r>
            <a:r>
              <a:rPr lang="en-US"/>
              <a:t> ._temperature</a:t>
            </a:r>
          </a:p>
          <a:p>
            <a:pPr marL="342900" indent="-342900">
              <a:buAutoNum type="arabicParenR"/>
            </a:pP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362B25-9F4C-89DC-157D-3D8145E086C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69744" y="59705"/>
            <a:ext cx="1438987" cy="222841"/>
          </a:xfrm>
        </p:spPr>
        <p:txBody>
          <a:bodyPr/>
          <a:lstStyle/>
          <a:p>
            <a:r>
              <a:rPr lang="de-CH"/>
              <a:t>Code</a:t>
            </a:r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2D5D8D-D185-65BD-F898-745062A80542}"/>
              </a:ext>
            </a:extLst>
          </p:cNvPr>
          <p:cNvSpPr txBox="1"/>
          <p:nvPr/>
        </p:nvSpPr>
        <p:spPr>
          <a:xfrm>
            <a:off x="3769744" y="291172"/>
            <a:ext cx="4963694" cy="41549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*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.8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 +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2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@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property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@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.setter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&lt; -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73.15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ais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ValueError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“T &lt; -273.15 not possible"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	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7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8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836B8C-25AA-E3BA-F6BF-8C75008A6E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2872" y="3850445"/>
            <a:ext cx="466728" cy="552454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322574185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Now you have everything you need to start with assignment 5</a:t>
            </a:r>
          </a:p>
        </p:txBody>
      </p:sp>
    </p:spTree>
    <p:extLst>
      <p:ext uri="{BB962C8B-B14F-4D97-AF65-F5344CB8AC3E}">
        <p14:creationId xmlns:p14="http://schemas.microsoft.com/office/powerpoint/2010/main" val="31087778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9CA527-9C4E-4704-9579-AA53445EF1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/>
            <a:endParaRPr lang="de-DE"/>
          </a:p>
          <a:p>
            <a:pPr marL="0" indent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0133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/>
              <a:t>Assignment 4 &amp; Quiz 4: What the questions were about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recursion</a:t>
            </a: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err="1"/>
              <a:t>map</a:t>
            </a:r>
            <a:r>
              <a:rPr lang="de-DE" b="1"/>
              <a:t>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iterable</a:t>
            </a:r>
            <a:r>
              <a:rPr lang="de-DE"/>
              <a:t> </a:t>
            </a:r>
            <a:r>
              <a:rPr lang="de-DE" err="1"/>
              <a:t>methods</a:t>
            </a:r>
            <a:r>
              <a:rPr lang="de-DE"/>
              <a:t>: </a:t>
            </a:r>
            <a:r>
              <a:rPr lang="de-DE" err="1"/>
              <a:t>sorted</a:t>
            </a:r>
            <a:r>
              <a:rPr lang="de-DE"/>
              <a:t> &amp; </a:t>
            </a:r>
            <a:r>
              <a:rPr lang="de-DE" err="1"/>
              <a:t>reversed</a:t>
            </a: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/>
              <a:t>a „</a:t>
            </a:r>
            <a:r>
              <a:rPr lang="de-DE" err="1"/>
              <a:t>complicated</a:t>
            </a:r>
            <a:r>
              <a:rPr lang="de-DE"/>
              <a:t>“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code</a:t>
            </a:r>
          </a:p>
          <a:p>
            <a:pPr marL="0" indent="0">
              <a:lnSpc>
                <a:spcPct val="150000"/>
              </a:lnSpc>
            </a:pPr>
            <a:endParaRPr lang="de-DE" b="1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60B48172-F822-F4B2-BC65-750C4214462F}"/>
              </a:ext>
            </a:extLst>
          </p:cNvPr>
          <p:cNvSpPr txBox="1">
            <a:spLocks/>
          </p:cNvSpPr>
          <p:nvPr/>
        </p:nvSpPr>
        <p:spPr>
          <a:xfrm>
            <a:off x="4662488" y="1426957"/>
            <a:ext cx="4122737" cy="290236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108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59B53215-B6F1-5EC0-B1AC-A12EE8961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453" y="1111125"/>
            <a:ext cx="4213225" cy="3437165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/>
          <a:p>
            <a:pPr marL="0" indent="0"/>
            <a:r>
              <a:rPr lang="en-GB" sz="115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define a function (alternatively you could </a:t>
            </a:r>
          </a:p>
          <a:p>
            <a:pPr marL="0" indent="0"/>
            <a:r>
              <a:rPr lang="en-GB" sz="115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use a lambda function) that returns a value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def </a:t>
            </a:r>
            <a:r>
              <a:rPr lang="en-GB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sort_numbers_by_digit</a:t>
            </a:r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(number):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return "".join(sorted(str(number), 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		           reverse=True))</a:t>
            </a:r>
          </a:p>
          <a:p>
            <a:pPr marL="0" indent="0"/>
            <a:endParaRPr lang="en-GB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map() applies the function for each value </a:t>
            </a:r>
          </a:p>
          <a:p>
            <a:pPr marL="0" indent="0"/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in the </a:t>
            </a:r>
            <a:r>
              <a:rPr lang="en-GB" sz="1200" i="1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iterable</a:t>
            </a:r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and returns an </a:t>
            </a:r>
            <a:r>
              <a:rPr lang="en-GB" sz="1200" b="1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iterator</a:t>
            </a:r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,</a:t>
            </a:r>
            <a:endParaRPr lang="en-GB" sz="1200" b="1" i="1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which can be used in loop or typecasted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a= list(map(</a:t>
            </a:r>
            <a:r>
              <a:rPr lang="en-GB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sort_numbers_by_digit</a:t>
            </a:r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, </a:t>
            </a:r>
            <a:r>
              <a:rPr lang="en-GB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a_list</a:t>
            </a:r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)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221F6C0-F638-FE34-D923-41A27EAAE4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752" y="2796001"/>
            <a:ext cx="3925993" cy="20155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69EC42E-8551-C5F5-A10A-099DE6B21B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752" y="3237058"/>
            <a:ext cx="6474029" cy="80492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7ED0372-2ADE-19F1-72AC-8CAE66FE9C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2753" y="4199900"/>
            <a:ext cx="5757975" cy="87172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898759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/>
              <a:t>Assignment 4 &amp; Quiz 4: What the questions were about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recursion</a:t>
            </a: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map</a:t>
            </a:r>
            <a:r>
              <a:rPr lang="de-DE"/>
              <a:t>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err="1"/>
              <a:t>iterable</a:t>
            </a:r>
            <a:r>
              <a:rPr lang="de-DE" b="1"/>
              <a:t> </a:t>
            </a:r>
            <a:r>
              <a:rPr lang="de-DE" b="1" err="1"/>
              <a:t>methods</a:t>
            </a:r>
            <a:r>
              <a:rPr lang="de-DE" b="1"/>
              <a:t>: </a:t>
            </a:r>
            <a:r>
              <a:rPr lang="de-DE" b="1" err="1"/>
              <a:t>sorted</a:t>
            </a:r>
            <a:r>
              <a:rPr lang="de-DE" b="1"/>
              <a:t> &amp; </a:t>
            </a:r>
            <a:r>
              <a:rPr lang="de-DE" b="1" err="1"/>
              <a:t>reversed</a:t>
            </a:r>
            <a:endParaRPr lang="de-DE" b="1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/>
              <a:t>a „</a:t>
            </a:r>
            <a:r>
              <a:rPr lang="de-DE" err="1"/>
              <a:t>complicated</a:t>
            </a:r>
            <a:r>
              <a:rPr lang="de-DE"/>
              <a:t>“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code</a:t>
            </a:r>
          </a:p>
          <a:p>
            <a:pPr marL="0" indent="0">
              <a:lnSpc>
                <a:spcPct val="150000"/>
              </a:lnSpc>
            </a:pPr>
            <a:endParaRPr lang="de-DE" b="1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60B48172-F822-F4B2-BC65-750C4214462F}"/>
              </a:ext>
            </a:extLst>
          </p:cNvPr>
          <p:cNvSpPr txBox="1">
            <a:spLocks/>
          </p:cNvSpPr>
          <p:nvPr/>
        </p:nvSpPr>
        <p:spPr>
          <a:xfrm>
            <a:off x="4662488" y="1426957"/>
            <a:ext cx="4122737" cy="290236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108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59B53215-B6F1-5EC0-B1AC-A12EE8961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453" y="1111125"/>
            <a:ext cx="4213225" cy="3437165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/>
          <a:p>
            <a:pPr marL="0" indent="0"/>
            <a:r>
              <a:rPr lang="de-CH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Remember</a:t>
            </a:r>
            <a:r>
              <a:rPr lang="de-CH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last </a:t>
            </a:r>
            <a:r>
              <a:rPr lang="de-CH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week’s</a:t>
            </a:r>
            <a:r>
              <a:rPr lang="de-CH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</a:t>
            </a:r>
            <a:r>
              <a:rPr lang="de-CH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quiz</a:t>
            </a:r>
            <a:r>
              <a:rPr lang="de-CH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</a:t>
            </a:r>
            <a:r>
              <a:rPr lang="de-CH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question</a:t>
            </a:r>
            <a:r>
              <a:rPr lang="de-CH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:</a:t>
            </a:r>
            <a:endParaRPr lang="en-GB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6D6191-0350-F439-22AE-880487F67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3357" y="1497813"/>
            <a:ext cx="3750901" cy="133189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7D194FA-3A7E-F0A2-1ABD-DDFDAEC171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268" y="3419473"/>
            <a:ext cx="3895753" cy="447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7436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/>
              <a:t>Assignment 4 &amp; Quiz 4: What the questions were about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recursion</a:t>
            </a: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map</a:t>
            </a:r>
            <a:r>
              <a:rPr lang="de-DE"/>
              <a:t>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iterable</a:t>
            </a:r>
            <a:r>
              <a:rPr lang="de-DE"/>
              <a:t> </a:t>
            </a:r>
            <a:r>
              <a:rPr lang="de-DE" err="1"/>
              <a:t>methods</a:t>
            </a:r>
            <a:r>
              <a:rPr lang="de-DE"/>
              <a:t>: </a:t>
            </a:r>
            <a:r>
              <a:rPr lang="de-DE" err="1"/>
              <a:t>sorted</a:t>
            </a:r>
            <a:r>
              <a:rPr lang="de-DE"/>
              <a:t> &amp; </a:t>
            </a:r>
            <a:r>
              <a:rPr lang="de-DE" err="1"/>
              <a:t>reversed</a:t>
            </a: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/>
              <a:t>a „</a:t>
            </a:r>
            <a:r>
              <a:rPr lang="de-DE" b="1" err="1"/>
              <a:t>complicated</a:t>
            </a:r>
            <a:r>
              <a:rPr lang="de-DE" b="1"/>
              <a:t>“ </a:t>
            </a:r>
            <a:r>
              <a:rPr lang="de-DE" b="1" err="1"/>
              <a:t>line</a:t>
            </a:r>
            <a:r>
              <a:rPr lang="de-DE" b="1"/>
              <a:t> </a:t>
            </a:r>
            <a:r>
              <a:rPr lang="de-DE" b="1" err="1"/>
              <a:t>of</a:t>
            </a:r>
            <a:r>
              <a:rPr lang="de-DE" b="1"/>
              <a:t> code</a:t>
            </a:r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60B48172-F822-F4B2-BC65-750C4214462F}"/>
              </a:ext>
            </a:extLst>
          </p:cNvPr>
          <p:cNvSpPr txBox="1">
            <a:spLocks/>
          </p:cNvSpPr>
          <p:nvPr/>
        </p:nvSpPr>
        <p:spPr>
          <a:xfrm>
            <a:off x="4662488" y="1426957"/>
            <a:ext cx="4122737" cy="290236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108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59B53215-B6F1-5EC0-B1AC-A12EE8961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453" y="1111125"/>
            <a:ext cx="4213225" cy="3437165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/>
          <a:p>
            <a:pPr marL="0" indent="0"/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# Start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by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making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sense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of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 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innermos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ilter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unction</a:t>
            </a:r>
            <a:r>
              <a:rPr lang="de-CH" sz="1200" i="1">
                <a:latin typeface="Courier New"/>
                <a:cs typeface="Courier New"/>
              </a:rPr>
              <a:t> 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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W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hav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a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es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or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 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equivalenc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==</a:t>
            </a:r>
          </a:p>
          <a:p>
            <a:pPr marL="0" indent="0"/>
            <a:endParaRPr lang="de-CH" sz="1200" i="1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#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et’s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star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with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is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comprehension</a:t>
            </a:r>
            <a:endParaRPr lang="de-CH" sz="1200" i="1">
              <a:latin typeface="Courier New"/>
              <a:cs typeface="Courier New"/>
              <a:sym typeface="Wingdings" pitchFamily="2" charset="2"/>
            </a:endParaRPr>
          </a:p>
          <a:p>
            <a:pPr marL="0" indent="0"/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The (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azily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evaluated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)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is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will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contain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squared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valu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of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os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items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in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rang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(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yyy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)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a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ulfil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unction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XXX.</a:t>
            </a:r>
            <a:endParaRPr lang="de-CH" sz="1200" i="1">
              <a:latin typeface="Courier New"/>
              <a:cs typeface="Courier New"/>
            </a:endParaRPr>
          </a:p>
          <a:p>
            <a:pPr marL="0" indent="0"/>
            <a:endParaRPr lang="de-CH" sz="1200" i="1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# And on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ef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sid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:</a:t>
            </a:r>
            <a:endParaRPr lang="de-CH" sz="1200" i="1">
              <a:latin typeface="Courier New"/>
              <a:cs typeface="Courier New"/>
            </a:endParaRPr>
          </a:p>
          <a:p>
            <a:pPr marL="0" indent="0"/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By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using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ilter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,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w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ar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ef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with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an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iterabl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a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contains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all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os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items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in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rang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(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yyy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)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a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ulfil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unction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XXX.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n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w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map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our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squar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unction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o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os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and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conver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o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a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is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. </a:t>
            </a:r>
            <a:r>
              <a:rPr lang="de-CH" sz="1200" b="1" i="1">
                <a:latin typeface="Courier New"/>
                <a:cs typeface="Courier New"/>
                <a:sym typeface="Wingdings" pitchFamily="2" charset="2"/>
              </a:rPr>
              <a:t>Thus, </a:t>
            </a:r>
            <a:r>
              <a:rPr lang="de-CH" sz="1200" b="1" i="1" err="1">
                <a:latin typeface="Courier New"/>
                <a:cs typeface="Courier New"/>
                <a:sym typeface="Wingdings" pitchFamily="2" charset="2"/>
              </a:rPr>
              <a:t>they’re</a:t>
            </a:r>
            <a:r>
              <a:rPr lang="de-CH" sz="1200" b="1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b="1" i="1" err="1">
                <a:latin typeface="Courier New"/>
                <a:cs typeface="Courier New"/>
                <a:sym typeface="Wingdings" pitchFamily="2" charset="2"/>
              </a:rPr>
              <a:t>equal</a:t>
            </a:r>
            <a:r>
              <a:rPr lang="de-CH" sz="1200" b="1" i="1">
                <a:latin typeface="Courier New"/>
                <a:cs typeface="Courier New"/>
                <a:sym typeface="Wingdings" pitchFamily="2" charset="2"/>
              </a:rPr>
              <a:t>.</a:t>
            </a:r>
            <a:endParaRPr lang="de-CH" sz="1200" i="1">
              <a:latin typeface="Courier New"/>
              <a:cs typeface="Courier New"/>
              <a:sym typeface="Wingdings" pitchFamily="2" charset="2"/>
            </a:endParaRPr>
          </a:p>
          <a:p>
            <a:pPr marL="0" indent="0"/>
            <a:endParaRPr lang="en-GB" sz="1200" i="1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1FC3F6-B33B-4540-BBF0-3D50C8750C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981" y="3867151"/>
            <a:ext cx="8541133" cy="763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0328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173" y="77139"/>
            <a:ext cx="7237225" cy="2496171"/>
          </a:xfrm>
        </p:spPr>
        <p:txBody>
          <a:bodyPr/>
          <a:lstStyle/>
          <a:p>
            <a:r>
              <a:rPr lang="en-US"/>
              <a:t>Group project: Introduction</a:t>
            </a:r>
          </a:p>
        </p:txBody>
      </p:sp>
    </p:spTree>
    <p:extLst>
      <p:ext uri="{BB962C8B-B14F-4D97-AF65-F5344CB8AC3E}">
        <p14:creationId xmlns:p14="http://schemas.microsoft.com/office/powerpoint/2010/main" val="31577655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5C78DE-38D3-1E49-EE31-79EFB857C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Introduction</a:t>
            </a:r>
            <a:r>
              <a:rPr lang="de-CH"/>
              <a:t> to Group Project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E37890-6DC0-5469-F2D6-056FAEFC1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75D24811-97C6-84FD-D61F-6B32C1867E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/>
              <a:t>Group Project</a:t>
            </a:r>
            <a:endParaRPr lang="en-GB"/>
          </a:p>
        </p:txBody>
      </p:sp>
      <p:sp>
        <p:nvSpPr>
          <p:cNvPr id="5" name="Rectangle 4" descr="Person with Idea">
            <a:extLst>
              <a:ext uri="{FF2B5EF4-FFF2-40B4-BE49-F238E27FC236}">
                <a16:creationId xmlns:a16="http://schemas.microsoft.com/office/drawing/2014/main" id="{0764D3A4-3B3B-BFDF-CF79-1BFF7A8826A3}"/>
              </a:ext>
            </a:extLst>
          </p:cNvPr>
          <p:cNvSpPr/>
          <p:nvPr/>
        </p:nvSpPr>
        <p:spPr>
          <a:xfrm>
            <a:off x="224651" y="1569352"/>
            <a:ext cx="1080000" cy="1080000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BBA228-5706-DC04-E067-BD5B530797DD}"/>
              </a:ext>
            </a:extLst>
          </p:cNvPr>
          <p:cNvSpPr txBox="1"/>
          <p:nvPr/>
        </p:nvSpPr>
        <p:spPr>
          <a:xfrm>
            <a:off x="274431" y="2792664"/>
            <a:ext cx="145898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400"/>
              <a:t>Groups (10 / 11 people within the </a:t>
            </a:r>
            <a:r>
              <a:rPr lang="en-US" sz="1400" b="1"/>
              <a:t>same exercise group</a:t>
            </a:r>
            <a:r>
              <a:rPr lang="en-US" sz="1400"/>
              <a:t>) build a small web app using </a:t>
            </a:r>
            <a:r>
              <a:rPr lang="en-US" sz="1400" err="1"/>
              <a:t>streamlit</a:t>
            </a:r>
            <a:r>
              <a:rPr lang="en-US" sz="1400"/>
              <a:t>.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EFCEA1-6962-3DB4-4603-0AFCFEF1577A}"/>
              </a:ext>
            </a:extLst>
          </p:cNvPr>
          <p:cNvSpPr txBox="1"/>
          <p:nvPr/>
        </p:nvSpPr>
        <p:spPr>
          <a:xfrm>
            <a:off x="1856996" y="2792665"/>
            <a:ext cx="202184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400" b="0"/>
              <a:t>Max. 5 min. Video</a:t>
            </a:r>
          </a:p>
          <a:p>
            <a:pPr lvl="0">
              <a:lnSpc>
                <a:spcPct val="100000"/>
              </a:lnSpc>
            </a:pPr>
            <a:r>
              <a:rPr lang="en-US" sz="1400" b="1"/>
              <a:t>&amp;</a:t>
            </a:r>
          </a:p>
          <a:p>
            <a:pPr lvl="0">
              <a:lnSpc>
                <a:spcPct val="100000"/>
              </a:lnSpc>
            </a:pPr>
            <a:r>
              <a:rPr lang="en-US" sz="1400"/>
              <a:t>Documented </a:t>
            </a:r>
            <a:r>
              <a:rPr lang="en-US" sz="1400" b="0"/>
              <a:t>App S</a:t>
            </a:r>
            <a:r>
              <a:rPr lang="en-US" sz="1400"/>
              <a:t>ource code</a:t>
            </a:r>
          </a:p>
          <a:p>
            <a:pPr lvl="0">
              <a:lnSpc>
                <a:spcPct val="100000"/>
              </a:lnSpc>
            </a:pPr>
            <a:endParaRPr lang="en-US" sz="1400" b="0"/>
          </a:p>
          <a:p>
            <a:pPr lvl="0">
              <a:lnSpc>
                <a:spcPct val="100000"/>
              </a:lnSpc>
            </a:pPr>
            <a:r>
              <a:rPr lang="en-US" sz="1400" b="0" u="sng"/>
              <a:t>Also:</a:t>
            </a:r>
          </a:p>
          <a:p>
            <a:pPr lvl="0">
              <a:lnSpc>
                <a:spcPct val="100000"/>
              </a:lnSpc>
            </a:pPr>
            <a:r>
              <a:rPr lang="en-US" sz="1400" i="1"/>
              <a:t>- Presentation of video &amp;</a:t>
            </a:r>
          </a:p>
          <a:p>
            <a:pPr lvl="0">
              <a:lnSpc>
                <a:spcPct val="100000"/>
              </a:lnSpc>
            </a:pPr>
            <a:r>
              <a:rPr lang="en-US" sz="1400" i="1"/>
              <a:t>  5 min. Q&amp;A (15.12.)</a:t>
            </a:r>
          </a:p>
          <a:p>
            <a:pPr lvl="0">
              <a:lnSpc>
                <a:spcPct val="100000"/>
              </a:lnSpc>
            </a:pPr>
            <a:r>
              <a:rPr lang="en-US" sz="1400" b="0" i="1"/>
              <a:t>- Top-3 present (20.12)</a:t>
            </a:r>
          </a:p>
        </p:txBody>
      </p:sp>
      <p:sp>
        <p:nvSpPr>
          <p:cNvPr id="10" name="Rectangle 9" descr="Share with solid fill">
            <a:extLst>
              <a:ext uri="{FF2B5EF4-FFF2-40B4-BE49-F238E27FC236}">
                <a16:creationId xmlns:a16="http://schemas.microsoft.com/office/drawing/2014/main" id="{222C2706-B75D-128E-A376-CD9401B00E06}"/>
              </a:ext>
            </a:extLst>
          </p:cNvPr>
          <p:cNvSpPr/>
          <p:nvPr/>
        </p:nvSpPr>
        <p:spPr>
          <a:xfrm>
            <a:off x="1920871" y="1569352"/>
            <a:ext cx="1080000" cy="10800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841FE26-5E36-8FAB-E8A6-E2627F7E9EE0}"/>
              </a:ext>
            </a:extLst>
          </p:cNvPr>
          <p:cNvSpPr txBox="1"/>
          <p:nvPr/>
        </p:nvSpPr>
        <p:spPr>
          <a:xfrm>
            <a:off x="274431" y="1248363"/>
            <a:ext cx="98044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IDEA</a:t>
            </a:r>
            <a:endParaRPr lang="en-GB" sz="1400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93D1EF-63EB-5037-D819-E59D3D83ACDE}"/>
              </a:ext>
            </a:extLst>
          </p:cNvPr>
          <p:cNvSpPr txBox="1"/>
          <p:nvPr/>
        </p:nvSpPr>
        <p:spPr>
          <a:xfrm>
            <a:off x="1711842" y="1248363"/>
            <a:ext cx="202184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/>
              <a:t>DELIVERABLES</a:t>
            </a:r>
            <a:endParaRPr lang="en-GB" sz="1400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2B5832-D3DC-9531-581A-34B835679B56}"/>
              </a:ext>
            </a:extLst>
          </p:cNvPr>
          <p:cNvSpPr txBox="1"/>
          <p:nvPr/>
        </p:nvSpPr>
        <p:spPr>
          <a:xfrm>
            <a:off x="4091093" y="1248363"/>
            <a:ext cx="225605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WHAT IS GRADED?</a:t>
            </a:r>
            <a:endParaRPr lang="en-GB" sz="1400" b="1"/>
          </a:p>
        </p:txBody>
      </p:sp>
      <p:sp>
        <p:nvSpPr>
          <p:cNvPr id="15" name="Rectangle 14" descr="Magnifying glass with solid fill">
            <a:extLst>
              <a:ext uri="{FF2B5EF4-FFF2-40B4-BE49-F238E27FC236}">
                <a16:creationId xmlns:a16="http://schemas.microsoft.com/office/drawing/2014/main" id="{F9365AB2-4B4C-7F06-B04C-CC1F90F19A21}"/>
              </a:ext>
            </a:extLst>
          </p:cNvPr>
          <p:cNvSpPr/>
          <p:nvPr/>
        </p:nvSpPr>
        <p:spPr>
          <a:xfrm>
            <a:off x="4091093" y="1569352"/>
            <a:ext cx="1080000" cy="1080000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BF9B9DA-B3A8-F3DB-A689-BDF2A1CD6C57}"/>
              </a:ext>
            </a:extLst>
          </p:cNvPr>
          <p:cNvSpPr txBox="1"/>
          <p:nvPr/>
        </p:nvSpPr>
        <p:spPr>
          <a:xfrm>
            <a:off x="4091093" y="2792664"/>
            <a:ext cx="4694132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400" b="1"/>
              <a:t>Mandatory Requirements (see * on the details slide)</a:t>
            </a:r>
          </a:p>
          <a:p>
            <a:pPr lvl="0">
              <a:lnSpc>
                <a:spcPct val="100000"/>
              </a:lnSpc>
            </a:pPr>
            <a:endParaRPr lang="en-US" sz="1400"/>
          </a:p>
          <a:p>
            <a:pPr lvl="0">
              <a:lnSpc>
                <a:spcPct val="100000"/>
              </a:lnSpc>
            </a:pPr>
            <a:endParaRPr lang="en-US" sz="1400"/>
          </a:p>
          <a:p>
            <a:pPr lvl="0">
              <a:lnSpc>
                <a:spcPct val="100000"/>
              </a:lnSpc>
            </a:pPr>
            <a:endParaRPr lang="en-US" sz="1400"/>
          </a:p>
          <a:p>
            <a:pPr lvl="0">
              <a:lnSpc>
                <a:spcPct val="100000"/>
              </a:lnSpc>
            </a:pPr>
            <a:endParaRPr lang="en-US" sz="1400"/>
          </a:p>
          <a:p>
            <a:pPr lvl="0">
              <a:lnSpc>
                <a:spcPct val="100000"/>
              </a:lnSpc>
            </a:pPr>
            <a:endParaRPr lang="en-US" sz="1400"/>
          </a:p>
          <a:p>
            <a:pPr lvl="0">
              <a:lnSpc>
                <a:spcPct val="100000"/>
              </a:lnSpc>
            </a:pPr>
            <a:endParaRPr lang="en-US" sz="1400"/>
          </a:p>
          <a:p>
            <a:pPr lvl="0">
              <a:lnSpc>
                <a:spcPct val="100000"/>
              </a:lnSpc>
            </a:pPr>
            <a:r>
              <a:rPr lang="en-US" sz="1400" b="1"/>
              <a:t>Extended Requirements </a:t>
            </a:r>
          </a:p>
          <a:p>
            <a:pPr lvl="0">
              <a:lnSpc>
                <a:spcPct val="100000"/>
              </a:lnSpc>
            </a:pPr>
            <a:r>
              <a:rPr lang="en-US" sz="1400"/>
              <a:t>No better grade; </a:t>
            </a:r>
            <a:r>
              <a:rPr lang="en-US" sz="1400" b="1"/>
              <a:t>can</a:t>
            </a:r>
            <a:r>
              <a:rPr lang="en-US" sz="1400"/>
              <a:t> influenc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D4617F-57DD-4A53-5E91-D1DB5D552B18}"/>
              </a:ext>
            </a:extLst>
          </p:cNvPr>
          <p:cNvSpPr/>
          <p:nvPr/>
        </p:nvSpPr>
        <p:spPr>
          <a:xfrm>
            <a:off x="4199208" y="3143952"/>
            <a:ext cx="1080000" cy="369938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/>
              <a:t>Y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893616-FB52-4325-6B36-4E5791FA79C3}"/>
              </a:ext>
            </a:extLst>
          </p:cNvPr>
          <p:cNvSpPr/>
          <p:nvPr/>
        </p:nvSpPr>
        <p:spPr>
          <a:xfrm>
            <a:off x="4199208" y="3808326"/>
            <a:ext cx="1080000" cy="36993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/>
              <a:t>No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0213B1C-093D-3181-4230-ADB16989C56F}"/>
              </a:ext>
            </a:extLst>
          </p:cNvPr>
          <p:cNvSpPr/>
          <p:nvPr/>
        </p:nvSpPr>
        <p:spPr>
          <a:xfrm>
            <a:off x="5708575" y="3143952"/>
            <a:ext cx="1080000" cy="9107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76BE18-FFCB-99C9-D2A3-88E46BBF220C}"/>
              </a:ext>
            </a:extLst>
          </p:cNvPr>
          <p:cNvSpPr/>
          <p:nvPr/>
        </p:nvSpPr>
        <p:spPr>
          <a:xfrm>
            <a:off x="5708575" y="3274878"/>
            <a:ext cx="1080000" cy="9107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42720B-087A-9BCC-8495-A5BD1D4440E9}"/>
              </a:ext>
            </a:extLst>
          </p:cNvPr>
          <p:cNvSpPr/>
          <p:nvPr/>
        </p:nvSpPr>
        <p:spPr>
          <a:xfrm>
            <a:off x="5708575" y="3414310"/>
            <a:ext cx="1080000" cy="9107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DD3D020-6018-6F45-4F1D-31870E996121}"/>
              </a:ext>
            </a:extLst>
          </p:cNvPr>
          <p:cNvSpPr txBox="1"/>
          <p:nvPr/>
        </p:nvSpPr>
        <p:spPr>
          <a:xfrm>
            <a:off x="4091093" y="3513890"/>
            <a:ext cx="202184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400" b="0"/>
              <a:t>Fulfilled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B90611-4E69-5E8A-C27F-526C2488BF9C}"/>
              </a:ext>
            </a:extLst>
          </p:cNvPr>
          <p:cNvSpPr txBox="1"/>
          <p:nvPr/>
        </p:nvSpPr>
        <p:spPr>
          <a:xfrm>
            <a:off x="5615050" y="3500549"/>
            <a:ext cx="1080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400" b="0"/>
              <a:t>How well?</a:t>
            </a: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6EB668AF-5EA3-2DA5-F745-BDEE3A371490}"/>
              </a:ext>
            </a:extLst>
          </p:cNvPr>
          <p:cNvSpPr/>
          <p:nvPr/>
        </p:nvSpPr>
        <p:spPr>
          <a:xfrm>
            <a:off x="5432008" y="3208264"/>
            <a:ext cx="161096" cy="224302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Arrow: Curved Left 38">
            <a:extLst>
              <a:ext uri="{FF2B5EF4-FFF2-40B4-BE49-F238E27FC236}">
                <a16:creationId xmlns:a16="http://schemas.microsoft.com/office/drawing/2014/main" id="{3EA62F1D-4208-1B7B-7EAF-C4CC831C39EA}"/>
              </a:ext>
            </a:extLst>
          </p:cNvPr>
          <p:cNvSpPr/>
          <p:nvPr/>
        </p:nvSpPr>
        <p:spPr>
          <a:xfrm flipV="1">
            <a:off x="6506661" y="3553741"/>
            <a:ext cx="426476" cy="1157389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B5AE273-7086-AC6D-E170-BF97F7FB2358}"/>
              </a:ext>
            </a:extLst>
          </p:cNvPr>
          <p:cNvSpPr txBox="1"/>
          <p:nvPr/>
        </p:nvSpPr>
        <p:spPr>
          <a:xfrm>
            <a:off x="7030892" y="2795176"/>
            <a:ext cx="202184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9600" b="0"/>
              <a:t>}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072D790-61DB-1DE3-46BB-3CB79DD29B19}"/>
              </a:ext>
            </a:extLst>
          </p:cNvPr>
          <p:cNvSpPr txBox="1"/>
          <p:nvPr/>
        </p:nvSpPr>
        <p:spPr>
          <a:xfrm>
            <a:off x="7552164" y="3481372"/>
            <a:ext cx="135324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2000" b="1"/>
              <a:t>Grad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433044D-E180-81E1-BB5F-68E0F20EB932}"/>
              </a:ext>
            </a:extLst>
          </p:cNvPr>
          <p:cNvSpPr txBox="1"/>
          <p:nvPr/>
        </p:nvSpPr>
        <p:spPr>
          <a:xfrm>
            <a:off x="2813188" y="2048882"/>
            <a:ext cx="9997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14.12.23 23:59</a:t>
            </a:r>
            <a:endParaRPr lang="en-GB" sz="1400" b="1"/>
          </a:p>
        </p:txBody>
      </p:sp>
    </p:spTree>
    <p:extLst>
      <p:ext uri="{BB962C8B-B14F-4D97-AF65-F5344CB8AC3E}">
        <p14:creationId xmlns:p14="http://schemas.microsoft.com/office/powerpoint/2010/main" val="521713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_Theme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_Theme" id="{14AC96C4-A653-419B-9F98-BCEAB59CA431}" vid="{36A816B0-F4C2-482D-BABA-E7D145EB4E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5017C11-67CF-41FA-9001-5446285FBB5A}">
  <we:reference id="0978a9cb-a548-4218-ab38-75ef22e0bf01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dc96929-7643-4924-91c0-9b0ff054556d" xsi:nil="true"/>
    <lcf76f155ced4ddcb4097134ff3c332f xmlns="180db94c-82de-4c89-acb5-d41e1b03bac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A3AC0B29D543742836C64EC22DE252D" ma:contentTypeVersion="10" ma:contentTypeDescription="Ein neues Dokument erstellen." ma:contentTypeScope="" ma:versionID="ec9100cfa9a0c60547e8efcdc404cd7d">
  <xsd:schema xmlns:xsd="http://www.w3.org/2001/XMLSchema" xmlns:xs="http://www.w3.org/2001/XMLSchema" xmlns:p="http://schemas.microsoft.com/office/2006/metadata/properties" xmlns:ns2="180db94c-82de-4c89-acb5-d41e1b03bacc" xmlns:ns3="5dc96929-7643-4924-91c0-9b0ff054556d" targetNamespace="http://schemas.microsoft.com/office/2006/metadata/properties" ma:root="true" ma:fieldsID="09315e31f5bd8324c08b8121df1eed69" ns2:_="" ns3:_="">
    <xsd:import namespace="180db94c-82de-4c89-acb5-d41e1b03bacc"/>
    <xsd:import namespace="5dc96929-7643-4924-91c0-9b0ff05455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db94c-82de-4c89-acb5-d41e1b03b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96929-7643-4924-91c0-9b0ff05455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37732f-bc61-4787-ba39-90e4ba434c8f}" ma:internalName="TaxCatchAll" ma:showField="CatchAllData" ma:web="5dc96929-7643-4924-91c0-9b0ff05455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AAF511-705D-4D22-B307-3E69187406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006C3C9-FB59-4473-BC1F-8644C613D910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www.w3.org/XML/1998/namespace"/>
    <ds:schemaRef ds:uri="180db94c-82de-4c89-acb5-d41e1b03bacc"/>
    <ds:schemaRef ds:uri="5dc96929-7643-4924-91c0-9b0ff054556d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EC0B2F9-E047-4156-AB80-D8532EFA5A05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180db94c-82de-4c89-acb5-d41e1b03bacc"/>
    <ds:schemaRef ds:uri="5dc96929-7643-4924-91c0-9b0ff054556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S_Theme</Template>
  <TotalTime>0</TotalTime>
  <Words>3747</Words>
  <Application>Microsoft Office PowerPoint</Application>
  <PresentationFormat>On-screen Show (16:9)</PresentationFormat>
  <Paragraphs>549</Paragraphs>
  <Slides>4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5" baseType="lpstr">
      <vt:lpstr>Arial</vt:lpstr>
      <vt:lpstr>Calibri</vt:lpstr>
      <vt:lpstr>Consolas</vt:lpstr>
      <vt:lpstr>Courier New</vt:lpstr>
      <vt:lpstr>Gill Alt One MT Light</vt:lpstr>
      <vt:lpstr>Gill Sans Nova</vt:lpstr>
      <vt:lpstr>Gill Sans Nova Light</vt:lpstr>
      <vt:lpstr>Gill Sans Nova,Bold</vt:lpstr>
      <vt:lpstr>Gill Sans Nova,Italic</vt:lpstr>
      <vt:lpstr>Menlo</vt:lpstr>
      <vt:lpstr>Wingdings</vt:lpstr>
      <vt:lpstr>SCS_Theme</vt:lpstr>
      <vt:lpstr>think-cell Slide</vt:lpstr>
      <vt:lpstr>Fundamentals and Methods of Computer Science</vt:lpstr>
      <vt:lpstr>Today’s Menu</vt:lpstr>
      <vt:lpstr>Discussion of assignment 4 and the respective quiz</vt:lpstr>
      <vt:lpstr>Assignment 4 &amp; Quiz 4: What the questions were about</vt:lpstr>
      <vt:lpstr>Assignment 4 &amp; Quiz 4: What the questions were about</vt:lpstr>
      <vt:lpstr>Assignment 4 &amp; Quiz 4: What the questions were about</vt:lpstr>
      <vt:lpstr>Assignment 4 &amp; Quiz 4: What the questions were about</vt:lpstr>
      <vt:lpstr>Group project: Introduction</vt:lpstr>
      <vt:lpstr>Introduction to Group Project</vt:lpstr>
      <vt:lpstr>Deliverables</vt:lpstr>
      <vt:lpstr>What is graded? </vt:lpstr>
      <vt:lpstr>Milestones / When is attendance mandatory*?</vt:lpstr>
      <vt:lpstr>Plagiarism in Coding</vt:lpstr>
      <vt:lpstr>Plagiarism in Coding</vt:lpstr>
      <vt:lpstr>A note on ChatGPT</vt:lpstr>
      <vt:lpstr>Collaboration and communication</vt:lpstr>
      <vt:lpstr>Group project: After this exercise you should know the things on Slides 18-23</vt:lpstr>
      <vt:lpstr>Streamlit – step-by-step</vt:lpstr>
      <vt:lpstr>Streamlit – step-by-step</vt:lpstr>
      <vt:lpstr>Streamlit – step-by-step</vt:lpstr>
      <vt:lpstr>Streamlit – step-by-step</vt:lpstr>
      <vt:lpstr>Streamlit – step-by-step</vt:lpstr>
      <vt:lpstr>Streamlit – Note</vt:lpstr>
      <vt:lpstr>Brief summary of skills necessary to solve assignment 5</vt:lpstr>
      <vt:lpstr>Object Oriented Programming: The Basics (1/2) </vt:lpstr>
      <vt:lpstr>Object Oriented Programming: The Basics (2/2) </vt:lpstr>
      <vt:lpstr>Class – a new datatype</vt:lpstr>
      <vt:lpstr>Objects are Instances of a Class  </vt:lpstr>
      <vt:lpstr>Special Methods</vt:lpstr>
      <vt:lpstr>Inheritance (1/2)</vt:lpstr>
      <vt:lpstr>Inheritance (2/2)</vt:lpstr>
      <vt:lpstr>Polymorphism</vt:lpstr>
      <vt:lpstr>Encapsulation</vt:lpstr>
      <vt:lpstr>PowerPoint Presentation</vt:lpstr>
      <vt:lpstr>PowerPoint Presentation</vt:lpstr>
      <vt:lpstr>Excursus: Getter, Setter &amp; @ Decorator</vt:lpstr>
      <vt:lpstr>Access attributes directly</vt:lpstr>
      <vt:lpstr>Attribute Protection by Convention</vt:lpstr>
      <vt:lpstr>Getters &amp; Setters</vt:lpstr>
      <vt:lpstr>Using @ Decorator</vt:lpstr>
      <vt:lpstr>Now you have everything you need to start with assignment 5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and Methods of  Computer Science</dc:title>
  <dc:creator>Stephan Aier</dc:creator>
  <cp:lastModifiedBy>Dominik Buchegger</cp:lastModifiedBy>
  <cp:revision>4</cp:revision>
  <dcterms:created xsi:type="dcterms:W3CDTF">2022-09-12T10:36:05Z</dcterms:created>
  <dcterms:modified xsi:type="dcterms:W3CDTF">2023-10-27T06:4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3AC0B29D543742836C64EC22DE252D</vt:lpwstr>
  </property>
  <property fmtid="{D5CDD505-2E9C-101B-9397-08002B2CF9AE}" pid="3" name="MediaServiceImageTags">
    <vt:lpwstr/>
  </property>
</Properties>
</file>